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sldIdLst>
    <p:sldId id="259" r:id="rId5"/>
    <p:sldId id="1948764928" r:id="rId6"/>
    <p:sldId id="269" r:id="rId7"/>
    <p:sldId id="1948764944" r:id="rId8"/>
    <p:sldId id="1948764926" r:id="rId9"/>
    <p:sldId id="1948764941" r:id="rId10"/>
    <p:sldId id="1948764943" r:id="rId11"/>
    <p:sldId id="1948764945" r:id="rId12"/>
    <p:sldId id="1948764946" r:id="rId13"/>
    <p:sldId id="1948764948" r:id="rId14"/>
    <p:sldId id="1948764949" r:id="rId15"/>
    <p:sldId id="274" r:id="rId16"/>
    <p:sldId id="1948764950" r:id="rId17"/>
    <p:sldId id="1948764954" r:id="rId18"/>
    <p:sldId id="1948764961" r:id="rId19"/>
    <p:sldId id="1948764962" r:id="rId20"/>
    <p:sldId id="1948764963" r:id="rId21"/>
    <p:sldId id="1948764966" r:id="rId22"/>
    <p:sldId id="1948764965" r:id="rId23"/>
    <p:sldId id="1948764968" r:id="rId24"/>
    <p:sldId id="1948764932" r:id="rId2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9E0"/>
    <a:srgbClr val="004C9A"/>
    <a:srgbClr val="0085CA"/>
    <a:srgbClr val="BE151E"/>
    <a:srgbClr val="F5E619"/>
    <a:srgbClr val="E72E36"/>
    <a:srgbClr val="009639"/>
    <a:srgbClr val="004C97"/>
    <a:srgbClr val="105627"/>
    <a:srgbClr val="9BCC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56A6FC-2257-46CB-86F6-AA2F3965E34B}" v="390" dt="2020-07-14T08:58:43.544"/>
    <p1510:client id="{BE9A37FA-CCB5-401E-87A1-BB7A50CD72DB}" v="191" dt="2020-07-13T21:37:04.26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114"/>
      </p:cViewPr>
      <p:guideLst>
        <p:guide orient="horz" pos="91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skind, Natalya {PI}" userId="85cf178f-a36f-487c-9312-0511ee9e1eb4" providerId="ADAL" clId="{49748B71-420D-4223-8C58-578BCDD5DC5C}"/>
    <pc:docChg chg="undo redo custSel mod addSld delSld modSld sldOrd">
      <pc:chgData name="Baskind, Natalya {PI}" userId="85cf178f-a36f-487c-9312-0511ee9e1eb4" providerId="ADAL" clId="{49748B71-420D-4223-8C58-578BCDD5DC5C}" dt="2020-07-13T20:29:58.554" v="3622" actId="6549"/>
      <pc:docMkLst>
        <pc:docMk/>
      </pc:docMkLst>
      <pc:sldChg chg="del">
        <pc:chgData name="Baskind, Natalya {PI}" userId="85cf178f-a36f-487c-9312-0511ee9e1eb4" providerId="ADAL" clId="{49748B71-420D-4223-8C58-578BCDD5DC5C}" dt="2020-07-13T19:46:29.636" v="3067" actId="2696"/>
        <pc:sldMkLst>
          <pc:docMk/>
          <pc:sldMk cId="0" sldId="257"/>
        </pc:sldMkLst>
      </pc:sldChg>
      <pc:sldChg chg="modSp mod">
        <pc:chgData name="Baskind, Natalya {PI}" userId="85cf178f-a36f-487c-9312-0511ee9e1eb4" providerId="ADAL" clId="{49748B71-420D-4223-8C58-578BCDD5DC5C}" dt="2020-07-13T20:21:46.479" v="3464" actId="20577"/>
        <pc:sldMkLst>
          <pc:docMk/>
          <pc:sldMk cId="3072444694" sldId="259"/>
        </pc:sldMkLst>
        <pc:spChg chg="mod">
          <ac:chgData name="Baskind, Natalya {PI}" userId="85cf178f-a36f-487c-9312-0511ee9e1eb4" providerId="ADAL" clId="{49748B71-420D-4223-8C58-578BCDD5DC5C}" dt="2020-07-13T20:20:53.432" v="3406" actId="20577"/>
          <ac:spMkLst>
            <pc:docMk/>
            <pc:sldMk cId="3072444694" sldId="259"/>
            <ac:spMk id="2" creationId="{00000000-0000-0000-0000-000000000000}"/>
          </ac:spMkLst>
        </pc:spChg>
        <pc:spChg chg="mod">
          <ac:chgData name="Baskind, Natalya {PI}" userId="85cf178f-a36f-487c-9312-0511ee9e1eb4" providerId="ADAL" clId="{49748B71-420D-4223-8C58-578BCDD5DC5C}" dt="2020-07-13T20:21:46.479" v="3464" actId="20577"/>
          <ac:spMkLst>
            <pc:docMk/>
            <pc:sldMk cId="3072444694" sldId="259"/>
            <ac:spMk id="3" creationId="{00000000-0000-0000-0000-000000000000}"/>
          </ac:spMkLst>
        </pc:spChg>
      </pc:sldChg>
      <pc:sldChg chg="del">
        <pc:chgData name="Baskind, Natalya {PI}" userId="85cf178f-a36f-487c-9312-0511ee9e1eb4" providerId="ADAL" clId="{49748B71-420D-4223-8C58-578BCDD5DC5C}" dt="2020-07-13T20:13:57.477" v="3258" actId="47"/>
        <pc:sldMkLst>
          <pc:docMk/>
          <pc:sldMk cId="0" sldId="260"/>
        </pc:sldMkLst>
      </pc:sldChg>
      <pc:sldChg chg="del mod modShow">
        <pc:chgData name="Baskind, Natalya {PI}" userId="85cf178f-a36f-487c-9312-0511ee9e1eb4" providerId="ADAL" clId="{49748B71-420D-4223-8C58-578BCDD5DC5C}" dt="2020-07-13T20:18:40.436" v="3337" actId="47"/>
        <pc:sldMkLst>
          <pc:docMk/>
          <pc:sldMk cId="3530798516" sldId="261"/>
        </pc:sldMkLst>
      </pc:sldChg>
      <pc:sldChg chg="modSp del mod">
        <pc:chgData name="Baskind, Natalya {PI}" userId="85cf178f-a36f-487c-9312-0511ee9e1eb4" providerId="ADAL" clId="{49748B71-420D-4223-8C58-578BCDD5DC5C}" dt="2020-07-13T20:14:06.642" v="3264" actId="47"/>
        <pc:sldMkLst>
          <pc:docMk/>
          <pc:sldMk cId="0" sldId="262"/>
        </pc:sldMkLst>
        <pc:spChg chg="mod">
          <ac:chgData name="Baskind, Natalya {PI}" userId="85cf178f-a36f-487c-9312-0511ee9e1eb4" providerId="ADAL" clId="{49748B71-420D-4223-8C58-578BCDD5DC5C}" dt="2020-07-13T19:28:21.685" v="3008" actId="14100"/>
          <ac:spMkLst>
            <pc:docMk/>
            <pc:sldMk cId="0" sldId="262"/>
            <ac:spMk id="152" creationId="{00000000-0000-0000-0000-000000000000}"/>
          </ac:spMkLst>
        </pc:spChg>
        <pc:picChg chg="mod">
          <ac:chgData name="Baskind, Natalya {PI}" userId="85cf178f-a36f-487c-9312-0511ee9e1eb4" providerId="ADAL" clId="{49748B71-420D-4223-8C58-578BCDD5DC5C}" dt="2020-07-13T19:28:19.094" v="3007" actId="1076"/>
          <ac:picMkLst>
            <pc:docMk/>
            <pc:sldMk cId="0" sldId="262"/>
            <ac:picMk id="145" creationId="{00000000-0000-0000-0000-000000000000}"/>
          </ac:picMkLst>
        </pc:picChg>
      </pc:sldChg>
      <pc:sldChg chg="addSp modSp add del mod modShow">
        <pc:chgData name="Baskind, Natalya {PI}" userId="85cf178f-a36f-487c-9312-0511ee9e1eb4" providerId="ADAL" clId="{49748B71-420D-4223-8C58-578BCDD5DC5C}" dt="2020-07-13T20:22:07.285" v="3465" actId="47"/>
        <pc:sldMkLst>
          <pc:docMk/>
          <pc:sldMk cId="4047402097" sldId="265"/>
        </pc:sldMkLst>
        <pc:spChg chg="add mod">
          <ac:chgData name="Baskind, Natalya {PI}" userId="85cf178f-a36f-487c-9312-0511ee9e1eb4" providerId="ADAL" clId="{49748B71-420D-4223-8C58-578BCDD5DC5C}" dt="2020-07-13T20:16:15.481" v="3336" actId="20577"/>
          <ac:spMkLst>
            <pc:docMk/>
            <pc:sldMk cId="4047402097" sldId="265"/>
            <ac:spMk id="21" creationId="{38F64C11-D8ED-4A72-9EFB-3C08EA82E88F}"/>
          </ac:spMkLst>
        </pc:spChg>
      </pc:sldChg>
      <pc:sldChg chg="addSp delSp modSp del mod">
        <pc:chgData name="Baskind, Natalya {PI}" userId="85cf178f-a36f-487c-9312-0511ee9e1eb4" providerId="ADAL" clId="{49748B71-420D-4223-8C58-578BCDD5DC5C}" dt="2020-07-13T20:13:59.930" v="3259" actId="47"/>
        <pc:sldMkLst>
          <pc:docMk/>
          <pc:sldMk cId="0" sldId="266"/>
        </pc:sldMkLst>
        <pc:spChg chg="del">
          <ac:chgData name="Baskind, Natalya {PI}" userId="85cf178f-a36f-487c-9312-0511ee9e1eb4" providerId="ADAL" clId="{49748B71-420D-4223-8C58-578BCDD5DC5C}" dt="2020-07-13T19:59:21.458" v="3103" actId="478"/>
          <ac:spMkLst>
            <pc:docMk/>
            <pc:sldMk cId="0" sldId="266"/>
            <ac:spMk id="4" creationId="{52CE82A0-B348-463A-969D-0E4E9118257E}"/>
          </ac:spMkLst>
        </pc:spChg>
        <pc:spChg chg="del mod">
          <ac:chgData name="Baskind, Natalya {PI}" userId="85cf178f-a36f-487c-9312-0511ee9e1eb4" providerId="ADAL" clId="{49748B71-420D-4223-8C58-578BCDD5DC5C}" dt="2020-07-13T19:59:18.512" v="3102" actId="478"/>
          <ac:spMkLst>
            <pc:docMk/>
            <pc:sldMk cId="0" sldId="266"/>
            <ac:spMk id="5" creationId="{6FECF0A0-E1AF-45EC-8061-B10AAD3E6F90}"/>
          </ac:spMkLst>
        </pc:spChg>
        <pc:picChg chg="mod">
          <ac:chgData name="Baskind, Natalya {PI}" userId="85cf178f-a36f-487c-9312-0511ee9e1eb4" providerId="ADAL" clId="{49748B71-420D-4223-8C58-578BCDD5DC5C}" dt="2020-07-13T19:59:27.075" v="3105" actId="1076"/>
          <ac:picMkLst>
            <pc:docMk/>
            <pc:sldMk cId="0" sldId="266"/>
            <ac:picMk id="3" creationId="{C8B28E75-B41F-4F5B-9657-8048132F7919}"/>
          </ac:picMkLst>
        </pc:picChg>
        <pc:picChg chg="del mod">
          <ac:chgData name="Baskind, Natalya {PI}" userId="85cf178f-a36f-487c-9312-0511ee9e1eb4" providerId="ADAL" clId="{49748B71-420D-4223-8C58-578BCDD5DC5C}" dt="2020-07-13T19:58:36.959" v="3097" actId="478"/>
          <ac:picMkLst>
            <pc:docMk/>
            <pc:sldMk cId="0" sldId="266"/>
            <ac:picMk id="8" creationId="{EE6BAA5B-5967-4EAC-BFB1-6F4E0582B022}"/>
          </ac:picMkLst>
        </pc:picChg>
        <pc:picChg chg="add mod">
          <ac:chgData name="Baskind, Natalya {PI}" userId="85cf178f-a36f-487c-9312-0511ee9e1eb4" providerId="ADAL" clId="{49748B71-420D-4223-8C58-578BCDD5DC5C}" dt="2020-07-13T19:59:24.378" v="3104" actId="1076"/>
          <ac:picMkLst>
            <pc:docMk/>
            <pc:sldMk cId="0" sldId="266"/>
            <ac:picMk id="11" creationId="{F64BA61F-54E4-4BE6-ADEC-FA18401CE29A}"/>
          </ac:picMkLst>
        </pc:picChg>
      </pc:sldChg>
      <pc:sldChg chg="del">
        <pc:chgData name="Baskind, Natalya {PI}" userId="85cf178f-a36f-487c-9312-0511ee9e1eb4" providerId="ADAL" clId="{49748B71-420D-4223-8C58-578BCDD5DC5C}" dt="2020-07-13T13:47:22.551" v="130" actId="47"/>
        <pc:sldMkLst>
          <pc:docMk/>
          <pc:sldMk cId="4067093324" sldId="268"/>
        </pc:sldMkLst>
      </pc:sldChg>
      <pc:sldChg chg="addSp delSp modSp mod">
        <pc:chgData name="Baskind, Natalya {PI}" userId="85cf178f-a36f-487c-9312-0511ee9e1eb4" providerId="ADAL" clId="{49748B71-420D-4223-8C58-578BCDD5DC5C}" dt="2020-07-13T19:08:17.818" v="2303" actId="478"/>
        <pc:sldMkLst>
          <pc:docMk/>
          <pc:sldMk cId="620528721" sldId="269"/>
        </pc:sldMkLst>
        <pc:spChg chg="add del mod">
          <ac:chgData name="Baskind, Natalya {PI}" userId="85cf178f-a36f-487c-9312-0511ee9e1eb4" providerId="ADAL" clId="{49748B71-420D-4223-8C58-578BCDD5DC5C}" dt="2020-07-13T19:08:17.818" v="2303" actId="478"/>
          <ac:spMkLst>
            <pc:docMk/>
            <pc:sldMk cId="620528721" sldId="269"/>
            <ac:spMk id="2" creationId="{90ED8813-09F1-45C1-982B-D3B16D960EBF}"/>
          </ac:spMkLst>
        </pc:spChg>
      </pc:sldChg>
      <pc:sldChg chg="del">
        <pc:chgData name="Baskind, Natalya {PI}" userId="85cf178f-a36f-487c-9312-0511ee9e1eb4" providerId="ADAL" clId="{49748B71-420D-4223-8C58-578BCDD5DC5C}" dt="2020-07-13T20:13:51.079" v="3255" actId="47"/>
        <pc:sldMkLst>
          <pc:docMk/>
          <pc:sldMk cId="1575394440" sldId="270"/>
        </pc:sldMkLst>
      </pc:sldChg>
      <pc:sldChg chg="del">
        <pc:chgData name="Baskind, Natalya {PI}" userId="85cf178f-a36f-487c-9312-0511ee9e1eb4" providerId="ADAL" clId="{49748B71-420D-4223-8C58-578BCDD5DC5C}" dt="2020-07-13T20:15:12.415" v="3271" actId="47"/>
        <pc:sldMkLst>
          <pc:docMk/>
          <pc:sldMk cId="2564132143" sldId="271"/>
        </pc:sldMkLst>
      </pc:sldChg>
      <pc:sldChg chg="del">
        <pc:chgData name="Baskind, Natalya {PI}" userId="85cf178f-a36f-487c-9312-0511ee9e1eb4" providerId="ADAL" clId="{49748B71-420D-4223-8C58-578BCDD5DC5C}" dt="2020-07-13T20:15:15.714" v="3272" actId="47"/>
        <pc:sldMkLst>
          <pc:docMk/>
          <pc:sldMk cId="226941369" sldId="273"/>
        </pc:sldMkLst>
      </pc:sldChg>
      <pc:sldChg chg="ord">
        <pc:chgData name="Baskind, Natalya {PI}" userId="85cf178f-a36f-487c-9312-0511ee9e1eb4" providerId="ADAL" clId="{49748B71-420D-4223-8C58-578BCDD5DC5C}" dt="2020-07-13T19:54:03.466" v="3091"/>
        <pc:sldMkLst>
          <pc:docMk/>
          <pc:sldMk cId="2269547030" sldId="274"/>
        </pc:sldMkLst>
      </pc:sldChg>
      <pc:sldChg chg="del">
        <pc:chgData name="Baskind, Natalya {PI}" userId="85cf178f-a36f-487c-9312-0511ee9e1eb4" providerId="ADAL" clId="{49748B71-420D-4223-8C58-578BCDD5DC5C}" dt="2020-07-13T20:13:55.821" v="3257" actId="47"/>
        <pc:sldMkLst>
          <pc:docMk/>
          <pc:sldMk cId="2650764871" sldId="277"/>
        </pc:sldMkLst>
      </pc:sldChg>
      <pc:sldChg chg="del">
        <pc:chgData name="Baskind, Natalya {PI}" userId="85cf178f-a36f-487c-9312-0511ee9e1eb4" providerId="ADAL" clId="{49748B71-420D-4223-8C58-578BCDD5DC5C}" dt="2020-07-13T19:46:29.636" v="3067" actId="2696"/>
        <pc:sldMkLst>
          <pc:docMk/>
          <pc:sldMk cId="4002389244" sldId="278"/>
        </pc:sldMkLst>
      </pc:sldChg>
      <pc:sldChg chg="del">
        <pc:chgData name="Baskind, Natalya {PI}" userId="85cf178f-a36f-487c-9312-0511ee9e1eb4" providerId="ADAL" clId="{49748B71-420D-4223-8C58-578BCDD5DC5C}" dt="2020-07-13T20:14:04.668" v="3263" actId="47"/>
        <pc:sldMkLst>
          <pc:docMk/>
          <pc:sldMk cId="219422126" sldId="281"/>
        </pc:sldMkLst>
      </pc:sldChg>
      <pc:sldChg chg="del">
        <pc:chgData name="Baskind, Natalya {PI}" userId="85cf178f-a36f-487c-9312-0511ee9e1eb4" providerId="ADAL" clId="{49748B71-420D-4223-8C58-578BCDD5DC5C}" dt="2020-07-13T20:14:03.671" v="3262" actId="47"/>
        <pc:sldMkLst>
          <pc:docMk/>
          <pc:sldMk cId="537249800" sldId="282"/>
        </pc:sldMkLst>
      </pc:sldChg>
      <pc:sldChg chg="del">
        <pc:chgData name="Baskind, Natalya {PI}" userId="85cf178f-a36f-487c-9312-0511ee9e1eb4" providerId="ADAL" clId="{49748B71-420D-4223-8C58-578BCDD5DC5C}" dt="2020-07-13T19:46:29.636" v="3067" actId="2696"/>
        <pc:sldMkLst>
          <pc:docMk/>
          <pc:sldMk cId="0" sldId="283"/>
        </pc:sldMkLst>
      </pc:sldChg>
      <pc:sldChg chg="del">
        <pc:chgData name="Baskind, Natalya {PI}" userId="85cf178f-a36f-487c-9312-0511ee9e1eb4" providerId="ADAL" clId="{49748B71-420D-4223-8C58-578BCDD5DC5C}" dt="2020-07-13T19:46:29.636" v="3067" actId="2696"/>
        <pc:sldMkLst>
          <pc:docMk/>
          <pc:sldMk cId="0" sldId="284"/>
        </pc:sldMkLst>
      </pc:sldChg>
      <pc:sldChg chg="delSp modSp del mod">
        <pc:chgData name="Baskind, Natalya {PI}" userId="85cf178f-a36f-487c-9312-0511ee9e1eb4" providerId="ADAL" clId="{49748B71-420D-4223-8C58-578BCDD5DC5C}" dt="2020-07-13T20:01:43.470" v="3154" actId="47"/>
        <pc:sldMkLst>
          <pc:docMk/>
          <pc:sldMk cId="1957055027" sldId="285"/>
        </pc:sldMkLst>
        <pc:spChg chg="mod">
          <ac:chgData name="Baskind, Natalya {PI}" userId="85cf178f-a36f-487c-9312-0511ee9e1eb4" providerId="ADAL" clId="{49748B71-420D-4223-8C58-578BCDD5DC5C}" dt="2020-07-13T14:01:46.011" v="196" actId="14100"/>
          <ac:spMkLst>
            <pc:docMk/>
            <pc:sldMk cId="1957055027" sldId="285"/>
            <ac:spMk id="5" creationId="{E75ADC87-2BD1-462F-8BFA-0521E66F10AD}"/>
          </ac:spMkLst>
        </pc:spChg>
        <pc:spChg chg="del">
          <ac:chgData name="Baskind, Natalya {PI}" userId="85cf178f-a36f-487c-9312-0511ee9e1eb4" providerId="ADAL" clId="{49748B71-420D-4223-8C58-578BCDD5DC5C}" dt="2020-07-13T14:00:03.625" v="192" actId="478"/>
          <ac:spMkLst>
            <pc:docMk/>
            <pc:sldMk cId="1957055027" sldId="285"/>
            <ac:spMk id="8" creationId="{4AAC9994-7665-46B9-BB3C-5DDE586BB81B}"/>
          </ac:spMkLst>
        </pc:spChg>
        <pc:spChg chg="del">
          <ac:chgData name="Baskind, Natalya {PI}" userId="85cf178f-a36f-487c-9312-0511ee9e1eb4" providerId="ADAL" clId="{49748B71-420D-4223-8C58-578BCDD5DC5C}" dt="2020-07-13T14:00:03.625" v="192" actId="478"/>
          <ac:spMkLst>
            <pc:docMk/>
            <pc:sldMk cId="1957055027" sldId="285"/>
            <ac:spMk id="9" creationId="{0D0DE2FB-4CC6-4D6F-94BE-25BE4598A745}"/>
          </ac:spMkLst>
        </pc:spChg>
        <pc:spChg chg="del mod">
          <ac:chgData name="Baskind, Natalya {PI}" userId="85cf178f-a36f-487c-9312-0511ee9e1eb4" providerId="ADAL" clId="{49748B71-420D-4223-8C58-578BCDD5DC5C}" dt="2020-07-13T14:00:03.625" v="192" actId="478"/>
          <ac:spMkLst>
            <pc:docMk/>
            <pc:sldMk cId="1957055027" sldId="285"/>
            <ac:spMk id="10" creationId="{736386E5-3676-43E2-B670-BADBBFEAD285}"/>
          </ac:spMkLst>
        </pc:spChg>
        <pc:spChg chg="del">
          <ac:chgData name="Baskind, Natalya {PI}" userId="85cf178f-a36f-487c-9312-0511ee9e1eb4" providerId="ADAL" clId="{49748B71-420D-4223-8C58-578BCDD5DC5C}" dt="2020-07-13T14:00:03.625" v="192" actId="478"/>
          <ac:spMkLst>
            <pc:docMk/>
            <pc:sldMk cId="1957055027" sldId="285"/>
            <ac:spMk id="11" creationId="{5F3CCFA9-E39B-4251-A11E-2BB11CD1689B}"/>
          </ac:spMkLst>
        </pc:spChg>
        <pc:spChg chg="del">
          <ac:chgData name="Baskind, Natalya {PI}" userId="85cf178f-a36f-487c-9312-0511ee9e1eb4" providerId="ADAL" clId="{49748B71-420D-4223-8C58-578BCDD5DC5C}" dt="2020-07-13T14:00:03.625" v="192" actId="478"/>
          <ac:spMkLst>
            <pc:docMk/>
            <pc:sldMk cId="1957055027" sldId="285"/>
            <ac:spMk id="12" creationId="{89E7BFE6-8410-4EC8-BD28-AA3EB61B5A69}"/>
          </ac:spMkLst>
        </pc:spChg>
        <pc:spChg chg="del">
          <ac:chgData name="Baskind, Natalya {PI}" userId="85cf178f-a36f-487c-9312-0511ee9e1eb4" providerId="ADAL" clId="{49748B71-420D-4223-8C58-578BCDD5DC5C}" dt="2020-07-13T14:00:03.625" v="192" actId="478"/>
          <ac:spMkLst>
            <pc:docMk/>
            <pc:sldMk cId="1957055027" sldId="285"/>
            <ac:spMk id="13" creationId="{09AF1209-4E19-4F4D-8C52-81975C1DFF87}"/>
          </ac:spMkLst>
        </pc:spChg>
        <pc:spChg chg="del">
          <ac:chgData name="Baskind, Natalya {PI}" userId="85cf178f-a36f-487c-9312-0511ee9e1eb4" providerId="ADAL" clId="{49748B71-420D-4223-8C58-578BCDD5DC5C}" dt="2020-07-13T14:00:03.625" v="192" actId="478"/>
          <ac:spMkLst>
            <pc:docMk/>
            <pc:sldMk cId="1957055027" sldId="285"/>
            <ac:spMk id="14" creationId="{8ADCDC6E-1CF3-4484-B272-1929F3D61731}"/>
          </ac:spMkLst>
        </pc:spChg>
        <pc:spChg chg="del">
          <ac:chgData name="Baskind, Natalya {PI}" userId="85cf178f-a36f-487c-9312-0511ee9e1eb4" providerId="ADAL" clId="{49748B71-420D-4223-8C58-578BCDD5DC5C}" dt="2020-07-13T14:00:03.625" v="192" actId="478"/>
          <ac:spMkLst>
            <pc:docMk/>
            <pc:sldMk cId="1957055027" sldId="285"/>
            <ac:spMk id="15" creationId="{9E9290BD-CE01-4D8C-9939-58C28596F887}"/>
          </ac:spMkLst>
        </pc:spChg>
        <pc:spChg chg="del">
          <ac:chgData name="Baskind, Natalya {PI}" userId="85cf178f-a36f-487c-9312-0511ee9e1eb4" providerId="ADAL" clId="{49748B71-420D-4223-8C58-578BCDD5DC5C}" dt="2020-07-13T14:00:03.625" v="192" actId="478"/>
          <ac:spMkLst>
            <pc:docMk/>
            <pc:sldMk cId="1957055027" sldId="285"/>
            <ac:spMk id="16" creationId="{0D234420-586A-48B1-9D1D-BA58706E1FC9}"/>
          </ac:spMkLst>
        </pc:spChg>
        <pc:picChg chg="mod">
          <ac:chgData name="Baskind, Natalya {PI}" userId="85cf178f-a36f-487c-9312-0511ee9e1eb4" providerId="ADAL" clId="{49748B71-420D-4223-8C58-578BCDD5DC5C}" dt="2020-07-13T13:59:51.961" v="190" actId="1076"/>
          <ac:picMkLst>
            <pc:docMk/>
            <pc:sldMk cId="1957055027" sldId="285"/>
            <ac:picMk id="3" creationId="{FC0CE971-E1D1-4B03-B497-9C61FCD6D707}"/>
          </ac:picMkLst>
        </pc:picChg>
        <pc:picChg chg="mod">
          <ac:chgData name="Baskind, Natalya {PI}" userId="85cf178f-a36f-487c-9312-0511ee9e1eb4" providerId="ADAL" clId="{49748B71-420D-4223-8C58-578BCDD5DC5C}" dt="2020-07-13T14:00:58.949" v="194" actId="1076"/>
          <ac:picMkLst>
            <pc:docMk/>
            <pc:sldMk cId="1957055027" sldId="285"/>
            <ac:picMk id="6" creationId="{0B4A673D-0EAF-46AF-B36E-F782CCEFCC94}"/>
          </ac:picMkLst>
        </pc:picChg>
      </pc:sldChg>
      <pc:sldChg chg="add del mod modShow">
        <pc:chgData name="Baskind, Natalya {PI}" userId="85cf178f-a36f-487c-9312-0511ee9e1eb4" providerId="ADAL" clId="{49748B71-420D-4223-8C58-578BCDD5DC5C}" dt="2020-07-13T15:30:54.501" v="360" actId="47"/>
        <pc:sldMkLst>
          <pc:docMk/>
          <pc:sldMk cId="550395253" sldId="286"/>
        </pc:sldMkLst>
      </pc:sldChg>
      <pc:sldChg chg="del">
        <pc:chgData name="Baskind, Natalya {PI}" userId="85cf178f-a36f-487c-9312-0511ee9e1eb4" providerId="ADAL" clId="{49748B71-420D-4223-8C58-578BCDD5DC5C}" dt="2020-07-13T20:01:46.973" v="3156" actId="47"/>
        <pc:sldMkLst>
          <pc:docMk/>
          <pc:sldMk cId="3235807715" sldId="290"/>
        </pc:sldMkLst>
      </pc:sldChg>
      <pc:sldChg chg="del">
        <pc:chgData name="Baskind, Natalya {PI}" userId="85cf178f-a36f-487c-9312-0511ee9e1eb4" providerId="ADAL" clId="{49748B71-420D-4223-8C58-578BCDD5DC5C}" dt="2020-07-13T20:15:31.372" v="3275" actId="47"/>
        <pc:sldMkLst>
          <pc:docMk/>
          <pc:sldMk cId="2748330867" sldId="295"/>
        </pc:sldMkLst>
      </pc:sldChg>
      <pc:sldChg chg="del">
        <pc:chgData name="Baskind, Natalya {PI}" userId="85cf178f-a36f-487c-9312-0511ee9e1eb4" providerId="ADAL" clId="{49748B71-420D-4223-8C58-578BCDD5DC5C}" dt="2020-07-13T20:15:21.954" v="3274" actId="47"/>
        <pc:sldMkLst>
          <pc:docMk/>
          <pc:sldMk cId="4037736115" sldId="357"/>
        </pc:sldMkLst>
      </pc:sldChg>
      <pc:sldChg chg="add del setBg">
        <pc:chgData name="Baskind, Natalya {PI}" userId="85cf178f-a36f-487c-9312-0511ee9e1eb4" providerId="ADAL" clId="{49748B71-420D-4223-8C58-578BCDD5DC5C}" dt="2020-07-13T19:11:24.744" v="2433" actId="47"/>
        <pc:sldMkLst>
          <pc:docMk/>
          <pc:sldMk cId="137775937" sldId="1306"/>
        </pc:sldMkLst>
      </pc:sldChg>
      <pc:sldChg chg="del">
        <pc:chgData name="Baskind, Natalya {PI}" userId="85cf178f-a36f-487c-9312-0511ee9e1eb4" providerId="ADAL" clId="{49748B71-420D-4223-8C58-578BCDD5DC5C}" dt="2020-07-13T20:15:07.447" v="3270" actId="47"/>
        <pc:sldMkLst>
          <pc:docMk/>
          <pc:sldMk cId="3731474822" sldId="11564"/>
        </pc:sldMkLst>
      </pc:sldChg>
      <pc:sldChg chg="del">
        <pc:chgData name="Baskind, Natalya {PI}" userId="85cf178f-a36f-487c-9312-0511ee9e1eb4" providerId="ADAL" clId="{49748B71-420D-4223-8C58-578BCDD5DC5C}" dt="2020-07-13T20:14:08.921" v="3266" actId="47"/>
        <pc:sldMkLst>
          <pc:docMk/>
          <pc:sldMk cId="2544005471" sldId="11577"/>
        </pc:sldMkLst>
      </pc:sldChg>
      <pc:sldChg chg="del">
        <pc:chgData name="Baskind, Natalya {PI}" userId="85cf178f-a36f-487c-9312-0511ee9e1eb4" providerId="ADAL" clId="{49748B71-420D-4223-8C58-578BCDD5DC5C}" dt="2020-07-13T20:14:08.060" v="3265" actId="47"/>
        <pc:sldMkLst>
          <pc:docMk/>
          <pc:sldMk cId="424924479" sldId="11645"/>
        </pc:sldMkLst>
      </pc:sldChg>
      <pc:sldChg chg="del">
        <pc:chgData name="Baskind, Natalya {PI}" userId="85cf178f-a36f-487c-9312-0511ee9e1eb4" providerId="ADAL" clId="{49748B71-420D-4223-8C58-578BCDD5DC5C}" dt="2020-07-13T20:14:09.950" v="3267" actId="47"/>
        <pc:sldMkLst>
          <pc:docMk/>
          <pc:sldMk cId="2347587393" sldId="11648"/>
        </pc:sldMkLst>
      </pc:sldChg>
      <pc:sldChg chg="addSp delSp modSp mod ord setBg modNotesTx">
        <pc:chgData name="Baskind, Natalya {PI}" userId="85cf178f-a36f-487c-9312-0511ee9e1eb4" providerId="ADAL" clId="{49748B71-420D-4223-8C58-578BCDD5DC5C}" dt="2020-07-13T19:14:27.222" v="2451" actId="1076"/>
        <pc:sldMkLst>
          <pc:docMk/>
          <pc:sldMk cId="1502810143" sldId="1948764926"/>
        </pc:sldMkLst>
        <pc:spChg chg="add del mod">
          <ac:chgData name="Baskind, Natalya {PI}" userId="85cf178f-a36f-487c-9312-0511ee9e1eb4" providerId="ADAL" clId="{49748B71-420D-4223-8C58-578BCDD5DC5C}" dt="2020-07-13T15:37:13.185" v="420" actId="478"/>
          <ac:spMkLst>
            <pc:docMk/>
            <pc:sldMk cId="1502810143" sldId="1948764926"/>
            <ac:spMk id="3" creationId="{546E8336-B838-4E71-B1FC-9F4E1BD5EC6A}"/>
          </ac:spMkLst>
        </pc:spChg>
        <pc:spChg chg="add mod">
          <ac:chgData name="Baskind, Natalya {PI}" userId="85cf178f-a36f-487c-9312-0511ee9e1eb4" providerId="ADAL" clId="{49748B71-420D-4223-8C58-578BCDD5DC5C}" dt="2020-07-13T19:14:10.281" v="2450" actId="27636"/>
          <ac:spMkLst>
            <pc:docMk/>
            <pc:sldMk cId="1502810143" sldId="1948764926"/>
            <ac:spMk id="6" creationId="{7F9005A8-44C3-43A3-B597-FBFACD41428F}"/>
          </ac:spMkLst>
        </pc:spChg>
        <pc:spChg chg="del">
          <ac:chgData name="Baskind, Natalya {PI}" userId="85cf178f-a36f-487c-9312-0511ee9e1eb4" providerId="ADAL" clId="{49748B71-420D-4223-8C58-578BCDD5DC5C}" dt="2020-07-13T15:37:10.905" v="419" actId="478"/>
          <ac:spMkLst>
            <pc:docMk/>
            <pc:sldMk cId="1502810143" sldId="1948764926"/>
            <ac:spMk id="12" creationId="{27FC0E93-3727-4A0F-9045-D30E4455FA1E}"/>
          </ac:spMkLst>
        </pc:spChg>
        <pc:spChg chg="del">
          <ac:chgData name="Baskind, Natalya {PI}" userId="85cf178f-a36f-487c-9312-0511ee9e1eb4" providerId="ADAL" clId="{49748B71-420D-4223-8C58-578BCDD5DC5C}" dt="2020-07-13T15:36:24.451" v="406" actId="478"/>
          <ac:spMkLst>
            <pc:docMk/>
            <pc:sldMk cId="1502810143" sldId="1948764926"/>
            <ac:spMk id="13" creationId="{9EF79ABD-9929-40BF-8A52-5D896EA9B4B8}"/>
          </ac:spMkLst>
        </pc:spChg>
        <pc:spChg chg="del">
          <ac:chgData name="Baskind, Natalya {PI}" userId="85cf178f-a36f-487c-9312-0511ee9e1eb4" providerId="ADAL" clId="{49748B71-420D-4223-8C58-578BCDD5DC5C}" dt="2020-07-13T15:36:28.041" v="407" actId="478"/>
          <ac:spMkLst>
            <pc:docMk/>
            <pc:sldMk cId="1502810143" sldId="1948764926"/>
            <ac:spMk id="20" creationId="{56496E33-7202-45EB-928F-58DB84E9DB17}"/>
          </ac:spMkLst>
        </pc:spChg>
        <pc:spChg chg="del">
          <ac:chgData name="Baskind, Natalya {PI}" userId="85cf178f-a36f-487c-9312-0511ee9e1eb4" providerId="ADAL" clId="{49748B71-420D-4223-8C58-578BCDD5DC5C}" dt="2020-07-13T15:36:44.676" v="413" actId="478"/>
          <ac:spMkLst>
            <pc:docMk/>
            <pc:sldMk cId="1502810143" sldId="1948764926"/>
            <ac:spMk id="25" creationId="{4419AC88-7512-4995-B52C-7ABE86DBD0BA}"/>
          </ac:spMkLst>
        </pc:spChg>
        <pc:spChg chg="del">
          <ac:chgData name="Baskind, Natalya {PI}" userId="85cf178f-a36f-487c-9312-0511ee9e1eb4" providerId="ADAL" clId="{49748B71-420D-4223-8C58-578BCDD5DC5C}" dt="2020-07-13T15:36:50.550" v="415" actId="478"/>
          <ac:spMkLst>
            <pc:docMk/>
            <pc:sldMk cId="1502810143" sldId="1948764926"/>
            <ac:spMk id="26" creationId="{35727F32-7720-40A5-868C-80C1A1BB038C}"/>
          </ac:spMkLst>
        </pc:spChg>
        <pc:spChg chg="del">
          <ac:chgData name="Baskind, Natalya {PI}" userId="85cf178f-a36f-487c-9312-0511ee9e1eb4" providerId="ADAL" clId="{49748B71-420D-4223-8C58-578BCDD5DC5C}" dt="2020-07-13T15:36:42.474" v="412" actId="478"/>
          <ac:spMkLst>
            <pc:docMk/>
            <pc:sldMk cId="1502810143" sldId="1948764926"/>
            <ac:spMk id="27" creationId="{B11649BB-7066-4C3F-917D-4DDA5FCA9BE6}"/>
          </ac:spMkLst>
        </pc:spChg>
        <pc:spChg chg="del">
          <ac:chgData name="Baskind, Natalya {PI}" userId="85cf178f-a36f-487c-9312-0511ee9e1eb4" providerId="ADAL" clId="{49748B71-420D-4223-8C58-578BCDD5DC5C}" dt="2020-07-13T15:36:50.550" v="415" actId="478"/>
          <ac:spMkLst>
            <pc:docMk/>
            <pc:sldMk cId="1502810143" sldId="1948764926"/>
            <ac:spMk id="28" creationId="{1D3786EA-F645-43EE-A440-41D9682EFAAA}"/>
          </ac:spMkLst>
        </pc:spChg>
        <pc:spChg chg="del">
          <ac:chgData name="Baskind, Natalya {PI}" userId="85cf178f-a36f-487c-9312-0511ee9e1eb4" providerId="ADAL" clId="{49748B71-420D-4223-8C58-578BCDD5DC5C}" dt="2020-07-13T15:36:47.762" v="414" actId="478"/>
          <ac:spMkLst>
            <pc:docMk/>
            <pc:sldMk cId="1502810143" sldId="1948764926"/>
            <ac:spMk id="42" creationId="{4F241586-F93A-49F4-9CFC-483FDA321982}"/>
          </ac:spMkLst>
        </pc:spChg>
        <pc:spChg chg="del">
          <ac:chgData name="Baskind, Natalya {PI}" userId="85cf178f-a36f-487c-9312-0511ee9e1eb4" providerId="ADAL" clId="{49748B71-420D-4223-8C58-578BCDD5DC5C}" dt="2020-07-13T15:36:50.550" v="415" actId="478"/>
          <ac:spMkLst>
            <pc:docMk/>
            <pc:sldMk cId="1502810143" sldId="1948764926"/>
            <ac:spMk id="43" creationId="{69D018C8-1D05-478E-8125-80D440301D85}"/>
          </ac:spMkLst>
        </pc:spChg>
        <pc:spChg chg="del mod">
          <ac:chgData name="Baskind, Natalya {PI}" userId="85cf178f-a36f-487c-9312-0511ee9e1eb4" providerId="ADAL" clId="{49748B71-420D-4223-8C58-578BCDD5DC5C}" dt="2020-07-13T15:36:31.902" v="409" actId="478"/>
          <ac:spMkLst>
            <pc:docMk/>
            <pc:sldMk cId="1502810143" sldId="1948764926"/>
            <ac:spMk id="44" creationId="{396D43BA-F492-4C52-B63E-EDE08AC1405E}"/>
          </ac:spMkLst>
        </pc:spChg>
        <pc:spChg chg="add del">
          <ac:chgData name="Baskind, Natalya {PI}" userId="85cf178f-a36f-487c-9312-0511ee9e1eb4" providerId="ADAL" clId="{49748B71-420D-4223-8C58-578BCDD5DC5C}" dt="2020-07-13T15:48:59.643" v="855" actId="26606"/>
          <ac:spMkLst>
            <pc:docMk/>
            <pc:sldMk cId="1502810143" sldId="1948764926"/>
            <ac:spMk id="45" creationId="{A9F529C3-C941-49FD-8C67-82F134F64BDB}"/>
          </ac:spMkLst>
        </pc:spChg>
        <pc:spChg chg="add del">
          <ac:chgData name="Baskind, Natalya {PI}" userId="85cf178f-a36f-487c-9312-0511ee9e1eb4" providerId="ADAL" clId="{49748B71-420D-4223-8C58-578BCDD5DC5C}" dt="2020-07-13T15:49:11.292" v="859" actId="26606"/>
          <ac:spMkLst>
            <pc:docMk/>
            <pc:sldMk cId="1502810143" sldId="1948764926"/>
            <ac:spMk id="46" creationId="{A9F529C3-C941-49FD-8C67-82F134F64BDB}"/>
          </ac:spMkLst>
        </pc:spChg>
        <pc:spChg chg="add del">
          <ac:chgData name="Baskind, Natalya {PI}" userId="85cf178f-a36f-487c-9312-0511ee9e1eb4" providerId="ADAL" clId="{49748B71-420D-4223-8C58-578BCDD5DC5C}" dt="2020-07-13T15:48:59.643" v="855" actId="26606"/>
          <ac:spMkLst>
            <pc:docMk/>
            <pc:sldMk cId="1502810143" sldId="1948764926"/>
            <ac:spMk id="47" creationId="{20586029-32A0-47E5-9AEC-AE3ABA6B94D0}"/>
          </ac:spMkLst>
        </pc:spChg>
        <pc:spChg chg="add del">
          <ac:chgData name="Baskind, Natalya {PI}" userId="85cf178f-a36f-487c-9312-0511ee9e1eb4" providerId="ADAL" clId="{49748B71-420D-4223-8C58-578BCDD5DC5C}" dt="2020-07-13T15:49:11.292" v="859" actId="26606"/>
          <ac:spMkLst>
            <pc:docMk/>
            <pc:sldMk cId="1502810143" sldId="1948764926"/>
            <ac:spMk id="48" creationId="{20586029-32A0-47E5-9AEC-AE3ABA6B94D0}"/>
          </ac:spMkLst>
        </pc:spChg>
        <pc:spChg chg="add del">
          <ac:chgData name="Baskind, Natalya {PI}" userId="85cf178f-a36f-487c-9312-0511ee9e1eb4" providerId="ADAL" clId="{49748B71-420D-4223-8C58-578BCDD5DC5C}" dt="2020-07-13T15:49:13.954" v="861" actId="26606"/>
          <ac:spMkLst>
            <pc:docMk/>
            <pc:sldMk cId="1502810143" sldId="1948764926"/>
            <ac:spMk id="52" creationId="{664E23E2-7440-4E36-A67B-0F88C5F7E185}"/>
          </ac:spMkLst>
        </pc:spChg>
        <pc:spChg chg="add del">
          <ac:chgData name="Baskind, Natalya {PI}" userId="85cf178f-a36f-487c-9312-0511ee9e1eb4" providerId="ADAL" clId="{49748B71-420D-4223-8C58-578BCDD5DC5C}" dt="2020-07-13T15:49:13.954" v="861" actId="26606"/>
          <ac:spMkLst>
            <pc:docMk/>
            <pc:sldMk cId="1502810143" sldId="1948764926"/>
            <ac:spMk id="53" creationId="{B06949AE-010D-4C18-8AED-7872085ADD57}"/>
          </ac:spMkLst>
        </pc:spChg>
        <pc:spChg chg="add del">
          <ac:chgData name="Baskind, Natalya {PI}" userId="85cf178f-a36f-487c-9312-0511ee9e1eb4" providerId="ADAL" clId="{49748B71-420D-4223-8C58-578BCDD5DC5C}" dt="2020-07-13T15:49:13.954" v="861" actId="26606"/>
          <ac:spMkLst>
            <pc:docMk/>
            <pc:sldMk cId="1502810143" sldId="1948764926"/>
            <ac:spMk id="54" creationId="{FE54AADB-50C7-4293-94C0-27361A32B8CF}"/>
          </ac:spMkLst>
        </pc:spChg>
        <pc:spChg chg="add del">
          <ac:chgData name="Baskind, Natalya {PI}" userId="85cf178f-a36f-487c-9312-0511ee9e1eb4" providerId="ADAL" clId="{49748B71-420D-4223-8C58-578BCDD5DC5C}" dt="2020-07-13T15:49:15.962" v="863" actId="26606"/>
          <ac:spMkLst>
            <pc:docMk/>
            <pc:sldMk cId="1502810143" sldId="1948764926"/>
            <ac:spMk id="56" creationId="{A9F529C3-C941-49FD-8C67-82F134F64BDB}"/>
          </ac:spMkLst>
        </pc:spChg>
        <pc:spChg chg="add del">
          <ac:chgData name="Baskind, Natalya {PI}" userId="85cf178f-a36f-487c-9312-0511ee9e1eb4" providerId="ADAL" clId="{49748B71-420D-4223-8C58-578BCDD5DC5C}" dt="2020-07-13T15:49:15.962" v="863" actId="26606"/>
          <ac:spMkLst>
            <pc:docMk/>
            <pc:sldMk cId="1502810143" sldId="1948764926"/>
            <ac:spMk id="57" creationId="{20586029-32A0-47E5-9AEC-AE3ABA6B94D0}"/>
          </ac:spMkLst>
        </pc:spChg>
        <pc:spChg chg="add del">
          <ac:chgData name="Baskind, Natalya {PI}" userId="85cf178f-a36f-487c-9312-0511ee9e1eb4" providerId="ADAL" clId="{49748B71-420D-4223-8C58-578BCDD5DC5C}" dt="2020-07-13T15:49:18.761" v="865" actId="26606"/>
          <ac:spMkLst>
            <pc:docMk/>
            <pc:sldMk cId="1502810143" sldId="1948764926"/>
            <ac:spMk id="60" creationId="{664E23E2-7440-4E36-A67B-0F88C5F7E185}"/>
          </ac:spMkLst>
        </pc:spChg>
        <pc:spChg chg="add del">
          <ac:chgData name="Baskind, Natalya {PI}" userId="85cf178f-a36f-487c-9312-0511ee9e1eb4" providerId="ADAL" clId="{49748B71-420D-4223-8C58-578BCDD5DC5C}" dt="2020-07-13T15:49:18.761" v="865" actId="26606"/>
          <ac:spMkLst>
            <pc:docMk/>
            <pc:sldMk cId="1502810143" sldId="1948764926"/>
            <ac:spMk id="61" creationId="{B06949AE-010D-4C18-8AED-7872085ADD57}"/>
          </ac:spMkLst>
        </pc:spChg>
        <pc:spChg chg="add del">
          <ac:chgData name="Baskind, Natalya {PI}" userId="85cf178f-a36f-487c-9312-0511ee9e1eb4" providerId="ADAL" clId="{49748B71-420D-4223-8C58-578BCDD5DC5C}" dt="2020-07-13T15:49:18.761" v="865" actId="26606"/>
          <ac:spMkLst>
            <pc:docMk/>
            <pc:sldMk cId="1502810143" sldId="1948764926"/>
            <ac:spMk id="62" creationId="{FE54AADB-50C7-4293-94C0-27361A32B8CF}"/>
          </ac:spMkLst>
        </pc:spChg>
        <pc:spChg chg="add del">
          <ac:chgData name="Baskind, Natalya {PI}" userId="85cf178f-a36f-487c-9312-0511ee9e1eb4" providerId="ADAL" clId="{49748B71-420D-4223-8C58-578BCDD5DC5C}" dt="2020-07-13T19:08:45.176" v="2313" actId="26606"/>
          <ac:spMkLst>
            <pc:docMk/>
            <pc:sldMk cId="1502810143" sldId="1948764926"/>
            <ac:spMk id="64" creationId="{A9F529C3-C941-49FD-8C67-82F134F64BDB}"/>
          </ac:spMkLst>
        </pc:spChg>
        <pc:spChg chg="add del">
          <ac:chgData name="Baskind, Natalya {PI}" userId="85cf178f-a36f-487c-9312-0511ee9e1eb4" providerId="ADAL" clId="{49748B71-420D-4223-8C58-578BCDD5DC5C}" dt="2020-07-13T19:08:45.176" v="2313" actId="26606"/>
          <ac:spMkLst>
            <pc:docMk/>
            <pc:sldMk cId="1502810143" sldId="1948764926"/>
            <ac:spMk id="65" creationId="{20586029-32A0-47E5-9AEC-AE3ABA6B94D0}"/>
          </ac:spMkLst>
        </pc:spChg>
        <pc:spChg chg="add del">
          <ac:chgData name="Baskind, Natalya {PI}" userId="85cf178f-a36f-487c-9312-0511ee9e1eb4" providerId="ADAL" clId="{49748B71-420D-4223-8C58-578BCDD5DC5C}" dt="2020-07-13T19:08:57.579" v="2315" actId="26606"/>
          <ac:spMkLst>
            <pc:docMk/>
            <pc:sldMk cId="1502810143" sldId="1948764926"/>
            <ac:spMk id="71" creationId="{031EA4A4-5D79-4817-B146-24029A2F3CC7}"/>
          </ac:spMkLst>
        </pc:spChg>
        <pc:spChg chg="add del">
          <ac:chgData name="Baskind, Natalya {PI}" userId="85cf178f-a36f-487c-9312-0511ee9e1eb4" providerId="ADAL" clId="{49748B71-420D-4223-8C58-578BCDD5DC5C}" dt="2020-07-13T19:08:57.579" v="2315" actId="26606"/>
          <ac:spMkLst>
            <pc:docMk/>
            <pc:sldMk cId="1502810143" sldId="1948764926"/>
            <ac:spMk id="73" creationId="{AF2F604E-43BE-4DC3-B983-E071523364F8}"/>
          </ac:spMkLst>
        </pc:spChg>
        <pc:spChg chg="add del">
          <ac:chgData name="Baskind, Natalya {PI}" userId="85cf178f-a36f-487c-9312-0511ee9e1eb4" providerId="ADAL" clId="{49748B71-420D-4223-8C58-578BCDD5DC5C}" dt="2020-07-13T19:08:57.579" v="2315" actId="26606"/>
          <ac:spMkLst>
            <pc:docMk/>
            <pc:sldMk cId="1502810143" sldId="1948764926"/>
            <ac:spMk id="75" creationId="{08C9B587-E65E-4B52-B37C-ABEBB6E87928}"/>
          </ac:spMkLst>
        </pc:spChg>
        <pc:spChg chg="add">
          <ac:chgData name="Baskind, Natalya {PI}" userId="85cf178f-a36f-487c-9312-0511ee9e1eb4" providerId="ADAL" clId="{49748B71-420D-4223-8C58-578BCDD5DC5C}" dt="2020-07-13T19:08:57.579" v="2315" actId="26606"/>
          <ac:spMkLst>
            <pc:docMk/>
            <pc:sldMk cId="1502810143" sldId="1948764926"/>
            <ac:spMk id="80" creationId="{031EA4A4-5D79-4817-B146-24029A2F3CC7}"/>
          </ac:spMkLst>
        </pc:spChg>
        <pc:spChg chg="add">
          <ac:chgData name="Baskind, Natalya {PI}" userId="85cf178f-a36f-487c-9312-0511ee9e1eb4" providerId="ADAL" clId="{49748B71-420D-4223-8C58-578BCDD5DC5C}" dt="2020-07-13T19:08:57.579" v="2315" actId="26606"/>
          <ac:spMkLst>
            <pc:docMk/>
            <pc:sldMk cId="1502810143" sldId="1948764926"/>
            <ac:spMk id="82" creationId="{AF2F604E-43BE-4DC3-B983-E071523364F8}"/>
          </ac:spMkLst>
        </pc:spChg>
        <pc:spChg chg="add">
          <ac:chgData name="Baskind, Natalya {PI}" userId="85cf178f-a36f-487c-9312-0511ee9e1eb4" providerId="ADAL" clId="{49748B71-420D-4223-8C58-578BCDD5DC5C}" dt="2020-07-13T19:08:57.579" v="2315" actId="26606"/>
          <ac:spMkLst>
            <pc:docMk/>
            <pc:sldMk cId="1502810143" sldId="1948764926"/>
            <ac:spMk id="84" creationId="{08C9B587-E65E-4B52-B37C-ABEBB6E87928}"/>
          </ac:spMkLst>
        </pc:spChg>
        <pc:picChg chg="add del mod">
          <ac:chgData name="Baskind, Natalya {PI}" userId="85cf178f-a36f-487c-9312-0511ee9e1eb4" providerId="ADAL" clId="{49748B71-420D-4223-8C58-578BCDD5DC5C}" dt="2020-07-13T15:52:08.003" v="964" actId="478"/>
          <ac:picMkLst>
            <pc:docMk/>
            <pc:sldMk cId="1502810143" sldId="1948764926"/>
            <ac:picMk id="4" creationId="{582515BF-2109-45EF-AEE9-C9596264D282}"/>
          </ac:picMkLst>
        </pc:picChg>
        <pc:picChg chg="add del mod">
          <ac:chgData name="Baskind, Natalya {PI}" userId="85cf178f-a36f-487c-9312-0511ee9e1eb4" providerId="ADAL" clId="{49748B71-420D-4223-8C58-578BCDD5DC5C}" dt="2020-07-13T15:52:09.705" v="965" actId="478"/>
          <ac:picMkLst>
            <pc:docMk/>
            <pc:sldMk cId="1502810143" sldId="1948764926"/>
            <ac:picMk id="5" creationId="{24DF5845-2DEE-4DD5-A036-54E8CABFFFD9}"/>
          </ac:picMkLst>
        </pc:picChg>
        <pc:picChg chg="del">
          <ac:chgData name="Baskind, Natalya {PI}" userId="85cf178f-a36f-487c-9312-0511ee9e1eb4" providerId="ADAL" clId="{49748B71-420D-4223-8C58-578BCDD5DC5C}" dt="2020-07-13T15:36:33.660" v="410" actId="478"/>
          <ac:picMkLst>
            <pc:docMk/>
            <pc:sldMk cId="1502810143" sldId="1948764926"/>
            <ac:picMk id="32" creationId="{9E4BD569-FBE9-4CBC-B68B-FA21BFA527C5}"/>
          </ac:picMkLst>
        </pc:picChg>
        <pc:picChg chg="del">
          <ac:chgData name="Baskind, Natalya {PI}" userId="85cf178f-a36f-487c-9312-0511ee9e1eb4" providerId="ADAL" clId="{49748B71-420D-4223-8C58-578BCDD5DC5C}" dt="2020-07-13T15:36:38.256" v="411" actId="478"/>
          <ac:picMkLst>
            <pc:docMk/>
            <pc:sldMk cId="1502810143" sldId="1948764926"/>
            <ac:picMk id="33" creationId="{DBA16095-A7E2-4F17-A4DC-5EB01378C5D6}"/>
          </ac:picMkLst>
        </pc:picChg>
        <pc:picChg chg="del">
          <ac:chgData name="Baskind, Natalya {PI}" userId="85cf178f-a36f-487c-9312-0511ee9e1eb4" providerId="ADAL" clId="{49748B71-420D-4223-8C58-578BCDD5DC5C}" dt="2020-07-13T15:36:38.256" v="411" actId="478"/>
          <ac:picMkLst>
            <pc:docMk/>
            <pc:sldMk cId="1502810143" sldId="1948764926"/>
            <ac:picMk id="34" creationId="{64609606-5BBC-42BA-A733-E5C491285BAC}"/>
          </ac:picMkLst>
        </pc:picChg>
        <pc:picChg chg="del">
          <ac:chgData name="Baskind, Natalya {PI}" userId="85cf178f-a36f-487c-9312-0511ee9e1eb4" providerId="ADAL" clId="{49748B71-420D-4223-8C58-578BCDD5DC5C}" dt="2020-07-13T15:36:38.256" v="411" actId="478"/>
          <ac:picMkLst>
            <pc:docMk/>
            <pc:sldMk cId="1502810143" sldId="1948764926"/>
            <ac:picMk id="35" creationId="{489BD0EC-0704-47C9-A286-6D75B726E5CD}"/>
          </ac:picMkLst>
        </pc:picChg>
        <pc:picChg chg="del">
          <ac:chgData name="Baskind, Natalya {PI}" userId="85cf178f-a36f-487c-9312-0511ee9e1eb4" providerId="ADAL" clId="{49748B71-420D-4223-8C58-578BCDD5DC5C}" dt="2020-07-13T15:36:38.256" v="411" actId="478"/>
          <ac:picMkLst>
            <pc:docMk/>
            <pc:sldMk cId="1502810143" sldId="1948764926"/>
            <ac:picMk id="36" creationId="{8155030F-8054-4FC3-8833-1958E001FD1D}"/>
          </ac:picMkLst>
        </pc:picChg>
        <pc:picChg chg="del">
          <ac:chgData name="Baskind, Natalya {PI}" userId="85cf178f-a36f-487c-9312-0511ee9e1eb4" providerId="ADAL" clId="{49748B71-420D-4223-8C58-578BCDD5DC5C}" dt="2020-07-13T15:36:38.256" v="411" actId="478"/>
          <ac:picMkLst>
            <pc:docMk/>
            <pc:sldMk cId="1502810143" sldId="1948764926"/>
            <ac:picMk id="37" creationId="{FD412277-B059-4954-B317-A33A4E5C4AE8}"/>
          </ac:picMkLst>
        </pc:picChg>
        <pc:picChg chg="del">
          <ac:chgData name="Baskind, Natalya {PI}" userId="85cf178f-a36f-487c-9312-0511ee9e1eb4" providerId="ADAL" clId="{49748B71-420D-4223-8C58-578BCDD5DC5C}" dt="2020-07-13T15:36:50.550" v="415" actId="478"/>
          <ac:picMkLst>
            <pc:docMk/>
            <pc:sldMk cId="1502810143" sldId="1948764926"/>
            <ac:picMk id="38" creationId="{A6C829B4-A015-42BD-8220-DEA04ECF9B00}"/>
          </ac:picMkLst>
        </pc:picChg>
        <pc:picChg chg="del">
          <ac:chgData name="Baskind, Natalya {PI}" userId="85cf178f-a36f-487c-9312-0511ee9e1eb4" providerId="ADAL" clId="{49748B71-420D-4223-8C58-578BCDD5DC5C}" dt="2020-07-13T15:36:50.550" v="415" actId="478"/>
          <ac:picMkLst>
            <pc:docMk/>
            <pc:sldMk cId="1502810143" sldId="1948764926"/>
            <ac:picMk id="39" creationId="{2E07BE12-F047-4861-A515-D3DA842C2CC3}"/>
          </ac:picMkLst>
        </pc:picChg>
        <pc:picChg chg="mod ord">
          <ac:chgData name="Baskind, Natalya {PI}" userId="85cf178f-a36f-487c-9312-0511ee9e1eb4" providerId="ADAL" clId="{49748B71-420D-4223-8C58-578BCDD5DC5C}" dt="2020-07-13T19:14:27.222" v="2451" actId="1076"/>
          <ac:picMkLst>
            <pc:docMk/>
            <pc:sldMk cId="1502810143" sldId="1948764926"/>
            <ac:picMk id="40" creationId="{BB933522-132A-4213-8169-98947242522A}"/>
          </ac:picMkLst>
        </pc:picChg>
        <pc:picChg chg="del mod">
          <ac:chgData name="Baskind, Natalya {PI}" userId="85cf178f-a36f-487c-9312-0511ee9e1eb4" providerId="ADAL" clId="{49748B71-420D-4223-8C58-578BCDD5DC5C}" dt="2020-07-13T15:37:18.906" v="423" actId="478"/>
          <ac:picMkLst>
            <pc:docMk/>
            <pc:sldMk cId="1502810143" sldId="1948764926"/>
            <ac:picMk id="41" creationId="{10B660EB-993E-449B-AE8D-69EA50DB803A}"/>
          </ac:picMkLst>
        </pc:picChg>
        <pc:cxnChg chg="add del">
          <ac:chgData name="Baskind, Natalya {PI}" userId="85cf178f-a36f-487c-9312-0511ee9e1eb4" providerId="ADAL" clId="{49748B71-420D-4223-8C58-578BCDD5DC5C}" dt="2020-07-13T15:48:59.643" v="855" actId="26606"/>
          <ac:cxnSpMkLst>
            <pc:docMk/>
            <pc:sldMk cId="1502810143" sldId="1948764926"/>
            <ac:cxnSpMk id="49" creationId="{8C730EAB-A532-4295-A302-FB4B90DB9F5E}"/>
          </ac:cxnSpMkLst>
        </pc:cxnChg>
        <pc:cxnChg chg="add del">
          <ac:chgData name="Baskind, Natalya {PI}" userId="85cf178f-a36f-487c-9312-0511ee9e1eb4" providerId="ADAL" clId="{49748B71-420D-4223-8C58-578BCDD5DC5C}" dt="2020-07-13T15:49:11.292" v="859" actId="26606"/>
          <ac:cxnSpMkLst>
            <pc:docMk/>
            <pc:sldMk cId="1502810143" sldId="1948764926"/>
            <ac:cxnSpMk id="50" creationId="{8C730EAB-A532-4295-A302-FB4B90DB9F5E}"/>
          </ac:cxnSpMkLst>
        </pc:cxnChg>
        <pc:cxnChg chg="add del">
          <ac:chgData name="Baskind, Natalya {PI}" userId="85cf178f-a36f-487c-9312-0511ee9e1eb4" providerId="ADAL" clId="{49748B71-420D-4223-8C58-578BCDD5DC5C}" dt="2020-07-13T15:49:15.962" v="863" actId="26606"/>
          <ac:cxnSpMkLst>
            <pc:docMk/>
            <pc:sldMk cId="1502810143" sldId="1948764926"/>
            <ac:cxnSpMk id="58" creationId="{8C730EAB-A532-4295-A302-FB4B90DB9F5E}"/>
          </ac:cxnSpMkLst>
        </pc:cxnChg>
        <pc:cxnChg chg="add del">
          <ac:chgData name="Baskind, Natalya {PI}" userId="85cf178f-a36f-487c-9312-0511ee9e1eb4" providerId="ADAL" clId="{49748B71-420D-4223-8C58-578BCDD5DC5C}" dt="2020-07-13T19:08:45.176" v="2313" actId="26606"/>
          <ac:cxnSpMkLst>
            <pc:docMk/>
            <pc:sldMk cId="1502810143" sldId="1948764926"/>
            <ac:cxnSpMk id="66" creationId="{8C730EAB-A532-4295-A302-FB4B90DB9F5E}"/>
          </ac:cxnSpMkLst>
        </pc:cxnChg>
      </pc:sldChg>
      <pc:sldChg chg="del ord">
        <pc:chgData name="Baskind, Natalya {PI}" userId="85cf178f-a36f-487c-9312-0511ee9e1eb4" providerId="ADAL" clId="{49748B71-420D-4223-8C58-578BCDD5DC5C}" dt="2020-07-13T19:21:14.321" v="2904" actId="47"/>
        <pc:sldMkLst>
          <pc:docMk/>
          <pc:sldMk cId="1389832883" sldId="1948764927"/>
        </pc:sldMkLst>
      </pc:sldChg>
      <pc:sldChg chg="ord">
        <pc:chgData name="Baskind, Natalya {PI}" userId="85cf178f-a36f-487c-9312-0511ee9e1eb4" providerId="ADAL" clId="{49748B71-420D-4223-8C58-578BCDD5DC5C}" dt="2020-07-13T13:44:54.263" v="47" actId="20578"/>
        <pc:sldMkLst>
          <pc:docMk/>
          <pc:sldMk cId="1436518410" sldId="1948764928"/>
        </pc:sldMkLst>
      </pc:sldChg>
      <pc:sldChg chg="del">
        <pc:chgData name="Baskind, Natalya {PI}" userId="85cf178f-a36f-487c-9312-0511ee9e1eb4" providerId="ADAL" clId="{49748B71-420D-4223-8C58-578BCDD5DC5C}" dt="2020-07-13T20:15:19.532" v="3273" actId="47"/>
        <pc:sldMkLst>
          <pc:docMk/>
          <pc:sldMk cId="2584352251" sldId="1948764930"/>
        </pc:sldMkLst>
      </pc:sldChg>
      <pc:sldChg chg="del">
        <pc:chgData name="Baskind, Natalya {PI}" userId="85cf178f-a36f-487c-9312-0511ee9e1eb4" providerId="ADAL" clId="{49748B71-420D-4223-8C58-578BCDD5DC5C}" dt="2020-07-13T20:15:31.390" v="3276" actId="47"/>
        <pc:sldMkLst>
          <pc:docMk/>
          <pc:sldMk cId="2213514116" sldId="1948764931"/>
        </pc:sldMkLst>
      </pc:sldChg>
      <pc:sldChg chg="addSp modSp mod">
        <pc:chgData name="Baskind, Natalya {PI}" userId="85cf178f-a36f-487c-9312-0511ee9e1eb4" providerId="ADAL" clId="{49748B71-420D-4223-8C58-578BCDD5DC5C}" dt="2020-07-13T20:25:56.312" v="3511" actId="20577"/>
        <pc:sldMkLst>
          <pc:docMk/>
          <pc:sldMk cId="3601527480" sldId="1948764932"/>
        </pc:sldMkLst>
        <pc:spChg chg="add mod">
          <ac:chgData name="Baskind, Natalya {PI}" userId="85cf178f-a36f-487c-9312-0511ee9e1eb4" providerId="ADAL" clId="{49748B71-420D-4223-8C58-578BCDD5DC5C}" dt="2020-07-13T20:25:56.312" v="3511" actId="20577"/>
          <ac:spMkLst>
            <pc:docMk/>
            <pc:sldMk cId="3601527480" sldId="1948764932"/>
            <ac:spMk id="3" creationId="{51AEBEDD-BE8F-45B8-8CAE-C6D201EDB2A9}"/>
          </ac:spMkLst>
        </pc:spChg>
      </pc:sldChg>
      <pc:sldChg chg="modSp del mod">
        <pc:chgData name="Baskind, Natalya {PI}" userId="85cf178f-a36f-487c-9312-0511ee9e1eb4" providerId="ADAL" clId="{49748B71-420D-4223-8C58-578BCDD5DC5C}" dt="2020-07-13T20:15:06.492" v="3269" actId="47"/>
        <pc:sldMkLst>
          <pc:docMk/>
          <pc:sldMk cId="3720570668" sldId="1948764933"/>
        </pc:sldMkLst>
        <pc:picChg chg="mod">
          <ac:chgData name="Baskind, Natalya {PI}" userId="85cf178f-a36f-487c-9312-0511ee9e1eb4" providerId="ADAL" clId="{49748B71-420D-4223-8C58-578BCDD5DC5C}" dt="2020-07-13T20:14:43.428" v="3268" actId="1036"/>
          <ac:picMkLst>
            <pc:docMk/>
            <pc:sldMk cId="3720570668" sldId="1948764933"/>
            <ac:picMk id="2" creationId="{7313EEA9-9298-4A00-967B-F868E965A749}"/>
          </ac:picMkLst>
        </pc:picChg>
      </pc:sldChg>
      <pc:sldChg chg="del">
        <pc:chgData name="Baskind, Natalya {PI}" userId="85cf178f-a36f-487c-9312-0511ee9e1eb4" providerId="ADAL" clId="{49748B71-420D-4223-8C58-578BCDD5DC5C}" dt="2020-07-13T20:01:48.619" v="3157" actId="47"/>
        <pc:sldMkLst>
          <pc:docMk/>
          <pc:sldMk cId="3928853172" sldId="1948764934"/>
        </pc:sldMkLst>
      </pc:sldChg>
      <pc:sldChg chg="del">
        <pc:chgData name="Baskind, Natalya {PI}" userId="85cf178f-a36f-487c-9312-0511ee9e1eb4" providerId="ADAL" clId="{49748B71-420D-4223-8C58-578BCDD5DC5C}" dt="2020-07-13T20:13:52.489" v="3256" actId="47"/>
        <pc:sldMkLst>
          <pc:docMk/>
          <pc:sldMk cId="3023862420" sldId="1948764936"/>
        </pc:sldMkLst>
      </pc:sldChg>
      <pc:sldChg chg="add del ord">
        <pc:chgData name="Baskind, Natalya {PI}" userId="85cf178f-a36f-487c-9312-0511ee9e1eb4" providerId="ADAL" clId="{49748B71-420D-4223-8C58-578BCDD5DC5C}" dt="2020-07-13T20:01:45.047" v="3155" actId="47"/>
        <pc:sldMkLst>
          <pc:docMk/>
          <pc:sldMk cId="817672891" sldId="1948764937"/>
        </pc:sldMkLst>
      </pc:sldChg>
      <pc:sldChg chg="new del">
        <pc:chgData name="Baskind, Natalya {PI}" userId="85cf178f-a36f-487c-9312-0511ee9e1eb4" providerId="ADAL" clId="{49748B71-420D-4223-8C58-578BCDD5DC5C}" dt="2020-07-13T13:48:34.439" v="132" actId="47"/>
        <pc:sldMkLst>
          <pc:docMk/>
          <pc:sldMk cId="3028415757" sldId="1948764937"/>
        </pc:sldMkLst>
      </pc:sldChg>
      <pc:sldChg chg="add del">
        <pc:chgData name="Baskind, Natalya {PI}" userId="85cf178f-a36f-487c-9312-0511ee9e1eb4" providerId="ADAL" clId="{49748B71-420D-4223-8C58-578BCDD5DC5C}" dt="2020-07-13T13:55:48.546" v="187" actId="47"/>
        <pc:sldMkLst>
          <pc:docMk/>
          <pc:sldMk cId="907760881" sldId="1948764938"/>
        </pc:sldMkLst>
      </pc:sldChg>
      <pc:sldChg chg="addSp delSp modSp add del mod modShow">
        <pc:chgData name="Baskind, Natalya {PI}" userId="85cf178f-a36f-487c-9312-0511ee9e1eb4" providerId="ADAL" clId="{49748B71-420D-4223-8C58-578BCDD5DC5C}" dt="2020-07-13T19:16:03.059" v="2496" actId="47"/>
        <pc:sldMkLst>
          <pc:docMk/>
          <pc:sldMk cId="3249188240" sldId="1948764938"/>
        </pc:sldMkLst>
        <pc:spChg chg="add del mod">
          <ac:chgData name="Baskind, Natalya {PI}" userId="85cf178f-a36f-487c-9312-0511ee9e1eb4" providerId="ADAL" clId="{49748B71-420D-4223-8C58-578BCDD5DC5C}" dt="2020-07-13T17:22:31.940" v="2210"/>
          <ac:spMkLst>
            <pc:docMk/>
            <pc:sldMk cId="3249188240" sldId="1948764938"/>
            <ac:spMk id="2" creationId="{F05E25C6-EEB3-4ED6-811A-95D3D6419F72}"/>
          </ac:spMkLst>
        </pc:spChg>
        <pc:spChg chg="add mod">
          <ac:chgData name="Baskind, Natalya {PI}" userId="85cf178f-a36f-487c-9312-0511ee9e1eb4" providerId="ADAL" clId="{49748B71-420D-4223-8C58-578BCDD5DC5C}" dt="2020-07-13T17:22:29.227" v="2208" actId="20577"/>
          <ac:spMkLst>
            <pc:docMk/>
            <pc:sldMk cId="3249188240" sldId="1948764938"/>
            <ac:spMk id="4" creationId="{BD73A253-00D8-4253-B39D-AA8A7126733F}"/>
          </ac:spMkLst>
        </pc:spChg>
        <pc:spChg chg="mod">
          <ac:chgData name="Baskind, Natalya {PI}" userId="85cf178f-a36f-487c-9312-0511ee9e1eb4" providerId="ADAL" clId="{49748B71-420D-4223-8C58-578BCDD5DC5C}" dt="2020-07-13T17:21:25.787" v="2032" actId="1076"/>
          <ac:spMkLst>
            <pc:docMk/>
            <pc:sldMk cId="3249188240" sldId="1948764938"/>
            <ac:spMk id="5" creationId="{E75ADC87-2BD1-462F-8BFA-0521E66F10AD}"/>
          </ac:spMkLst>
        </pc:spChg>
        <pc:picChg chg="del">
          <ac:chgData name="Baskind, Natalya {PI}" userId="85cf178f-a36f-487c-9312-0511ee9e1eb4" providerId="ADAL" clId="{49748B71-420D-4223-8C58-578BCDD5DC5C}" dt="2020-07-13T15:10:21.812" v="201" actId="478"/>
          <ac:picMkLst>
            <pc:docMk/>
            <pc:sldMk cId="3249188240" sldId="1948764938"/>
            <ac:picMk id="3" creationId="{FC0CE971-E1D1-4B03-B497-9C61FCD6D707}"/>
          </ac:picMkLst>
        </pc:picChg>
        <pc:picChg chg="del">
          <ac:chgData name="Baskind, Natalya {PI}" userId="85cf178f-a36f-487c-9312-0511ee9e1eb4" providerId="ADAL" clId="{49748B71-420D-4223-8C58-578BCDD5DC5C}" dt="2020-07-13T15:10:20.082" v="200" actId="478"/>
          <ac:picMkLst>
            <pc:docMk/>
            <pc:sldMk cId="3249188240" sldId="1948764938"/>
            <ac:picMk id="6" creationId="{0B4A673D-0EAF-46AF-B36E-F782CCEFCC94}"/>
          </ac:picMkLst>
        </pc:picChg>
      </pc:sldChg>
      <pc:sldChg chg="modSp add del mod ord">
        <pc:chgData name="Baskind, Natalya {PI}" userId="85cf178f-a36f-487c-9312-0511ee9e1eb4" providerId="ADAL" clId="{49748B71-420D-4223-8C58-578BCDD5DC5C}" dt="2020-07-13T19:18:40.268" v="2588" actId="47"/>
        <pc:sldMkLst>
          <pc:docMk/>
          <pc:sldMk cId="1961690043" sldId="1948764939"/>
        </pc:sldMkLst>
        <pc:spChg chg="mod">
          <ac:chgData name="Baskind, Natalya {PI}" userId="85cf178f-a36f-487c-9312-0511ee9e1eb4" providerId="ADAL" clId="{49748B71-420D-4223-8C58-578BCDD5DC5C}" dt="2020-07-13T19:18:14.130" v="2585" actId="1076"/>
          <ac:spMkLst>
            <pc:docMk/>
            <pc:sldMk cId="1961690043" sldId="1948764939"/>
            <ac:spMk id="5" creationId="{E75ADC87-2BD1-462F-8BFA-0521E66F10AD}"/>
          </ac:spMkLst>
        </pc:spChg>
      </pc:sldChg>
      <pc:sldChg chg="add del mod modShow">
        <pc:chgData name="Baskind, Natalya {PI}" userId="85cf178f-a36f-487c-9312-0511ee9e1eb4" providerId="ADAL" clId="{49748B71-420D-4223-8C58-578BCDD5DC5C}" dt="2020-07-13T20:13:49.987" v="3254" actId="47"/>
        <pc:sldMkLst>
          <pc:docMk/>
          <pc:sldMk cId="17100568" sldId="1948764940"/>
        </pc:sldMkLst>
      </pc:sldChg>
      <pc:sldChg chg="add del">
        <pc:chgData name="Baskind, Natalya {PI}" userId="85cf178f-a36f-487c-9312-0511ee9e1eb4" providerId="ADAL" clId="{49748B71-420D-4223-8C58-578BCDD5DC5C}" dt="2020-07-13T15:57:28.555" v="1245" actId="47"/>
        <pc:sldMkLst>
          <pc:docMk/>
          <pc:sldMk cId="41649536" sldId="1948764941"/>
        </pc:sldMkLst>
      </pc:sldChg>
      <pc:sldChg chg="addSp delSp modSp add mod modNotesTx">
        <pc:chgData name="Baskind, Natalya {PI}" userId="85cf178f-a36f-487c-9312-0511ee9e1eb4" providerId="ADAL" clId="{49748B71-420D-4223-8C58-578BCDD5DC5C}" dt="2020-07-13T19:11:54.511" v="2437" actId="1076"/>
        <pc:sldMkLst>
          <pc:docMk/>
          <pc:sldMk cId="3708489921" sldId="1948764941"/>
        </pc:sldMkLst>
        <pc:spChg chg="add mod">
          <ac:chgData name="Baskind, Natalya {PI}" userId="85cf178f-a36f-487c-9312-0511ee9e1eb4" providerId="ADAL" clId="{49748B71-420D-4223-8C58-578BCDD5DC5C}" dt="2020-07-13T18:57:59.040" v="2252" actId="26606"/>
          <ac:spMkLst>
            <pc:docMk/>
            <pc:sldMk cId="3708489921" sldId="1948764941"/>
            <ac:spMk id="5" creationId="{86C59D5E-814B-44D0-A91D-CCA121CEEFDA}"/>
          </ac:spMkLst>
        </pc:spChg>
        <pc:spChg chg="mod ord">
          <ac:chgData name="Baskind, Natalya {PI}" userId="85cf178f-a36f-487c-9312-0511ee9e1eb4" providerId="ADAL" clId="{49748B71-420D-4223-8C58-578BCDD5DC5C}" dt="2020-07-13T19:09:24.555" v="2318" actId="26606"/>
          <ac:spMkLst>
            <pc:docMk/>
            <pc:sldMk cId="3708489921" sldId="1948764941"/>
            <ac:spMk id="6" creationId="{7F9005A8-44C3-43A3-B597-FBFACD41428F}"/>
          </ac:spMkLst>
        </pc:spChg>
        <pc:spChg chg="add del">
          <ac:chgData name="Baskind, Natalya {PI}" userId="85cf178f-a36f-487c-9312-0511ee9e1eb4" providerId="ADAL" clId="{49748B71-420D-4223-8C58-578BCDD5DC5C}" dt="2020-07-13T18:57:59.040" v="2252" actId="26606"/>
          <ac:spMkLst>
            <pc:docMk/>
            <pc:sldMk cId="3708489921" sldId="1948764941"/>
            <ac:spMk id="64" creationId="{A9F529C3-C941-49FD-8C67-82F134F64BDB}"/>
          </ac:spMkLst>
        </pc:spChg>
        <pc:spChg chg="add del">
          <ac:chgData name="Baskind, Natalya {PI}" userId="85cf178f-a36f-487c-9312-0511ee9e1eb4" providerId="ADAL" clId="{49748B71-420D-4223-8C58-578BCDD5DC5C}" dt="2020-07-13T18:57:59.040" v="2252" actId="26606"/>
          <ac:spMkLst>
            <pc:docMk/>
            <pc:sldMk cId="3708489921" sldId="1948764941"/>
            <ac:spMk id="65" creationId="{20586029-32A0-47E5-9AEC-AE3ABA6B94D0}"/>
          </ac:spMkLst>
        </pc:spChg>
        <pc:spChg chg="add del">
          <ac:chgData name="Baskind, Natalya {PI}" userId="85cf178f-a36f-487c-9312-0511ee9e1eb4" providerId="ADAL" clId="{49748B71-420D-4223-8C58-578BCDD5DC5C}" dt="2020-07-13T17:36:15.323" v="2230" actId="26606"/>
          <ac:spMkLst>
            <pc:docMk/>
            <pc:sldMk cId="3708489921" sldId="1948764941"/>
            <ac:spMk id="68" creationId="{A5A17FC0-D416-4C8B-A9E6-5924D352B986}"/>
          </ac:spMkLst>
        </pc:spChg>
        <pc:spChg chg="add del">
          <ac:chgData name="Baskind, Natalya {PI}" userId="85cf178f-a36f-487c-9312-0511ee9e1eb4" providerId="ADAL" clId="{49748B71-420D-4223-8C58-578BCDD5DC5C}" dt="2020-07-13T17:22:55.622" v="2212" actId="26606"/>
          <ac:spMkLst>
            <pc:docMk/>
            <pc:sldMk cId="3708489921" sldId="1948764941"/>
            <ac:spMk id="71" creationId="{823AC064-BC96-4F32-8AE1-B2FD38754823}"/>
          </ac:spMkLst>
        </pc:spChg>
        <pc:spChg chg="add del">
          <ac:chgData name="Baskind, Natalya {PI}" userId="85cf178f-a36f-487c-9312-0511ee9e1eb4" providerId="ADAL" clId="{49748B71-420D-4223-8C58-578BCDD5DC5C}" dt="2020-07-13T19:09:24.555" v="2318" actId="26606"/>
          <ac:spMkLst>
            <pc:docMk/>
            <pc:sldMk cId="3708489921" sldId="1948764941"/>
            <ac:spMk id="90" creationId="{93E9B640-E416-40A1-A398-9B0FFD9BE861}"/>
          </ac:spMkLst>
        </pc:spChg>
        <pc:spChg chg="add del">
          <ac:chgData name="Baskind, Natalya {PI}" userId="85cf178f-a36f-487c-9312-0511ee9e1eb4" providerId="ADAL" clId="{49748B71-420D-4223-8C58-578BCDD5DC5C}" dt="2020-07-13T19:09:24.555" v="2318" actId="26606"/>
          <ac:spMkLst>
            <pc:docMk/>
            <pc:sldMk cId="3708489921" sldId="1948764941"/>
            <ac:spMk id="92" creationId="{114A821F-8663-46BA-8CC0-D4C44F639F3A}"/>
          </ac:spMkLst>
        </pc:spChg>
        <pc:spChg chg="add del">
          <ac:chgData name="Baskind, Natalya {PI}" userId="85cf178f-a36f-487c-9312-0511ee9e1eb4" providerId="ADAL" clId="{49748B71-420D-4223-8C58-578BCDD5DC5C}" dt="2020-07-13T19:09:24.555" v="2318" actId="26606"/>
          <ac:spMkLst>
            <pc:docMk/>
            <pc:sldMk cId="3708489921" sldId="1948764941"/>
            <ac:spMk id="94" creationId="{67EF550F-47CE-4FB2-9DAC-12AD835C833D}"/>
          </ac:spMkLst>
        </pc:spChg>
        <pc:picChg chg="add del mod ord">
          <ac:chgData name="Baskind, Natalya {PI}" userId="85cf178f-a36f-487c-9312-0511ee9e1eb4" providerId="ADAL" clId="{49748B71-420D-4223-8C58-578BCDD5DC5C}" dt="2020-07-13T18:58:11.810" v="2253" actId="478"/>
          <ac:picMkLst>
            <pc:docMk/>
            <pc:sldMk cId="3708489921" sldId="1948764941"/>
            <ac:picMk id="2" creationId="{AB05C99D-6D31-46F8-9F28-30D37198AE62}"/>
          </ac:picMkLst>
        </pc:picChg>
        <pc:picChg chg="add mod ord">
          <ac:chgData name="Baskind, Natalya {PI}" userId="85cf178f-a36f-487c-9312-0511ee9e1eb4" providerId="ADAL" clId="{49748B71-420D-4223-8C58-578BCDD5DC5C}" dt="2020-07-13T19:09:24.555" v="2318" actId="26606"/>
          <ac:picMkLst>
            <pc:docMk/>
            <pc:sldMk cId="3708489921" sldId="1948764941"/>
            <ac:picMk id="3" creationId="{BBDDAE6A-EBF8-46BC-8905-2C6B92162554}"/>
          </ac:picMkLst>
        </pc:picChg>
        <pc:picChg chg="add del">
          <ac:chgData name="Baskind, Natalya {PI}" userId="85cf178f-a36f-487c-9312-0511ee9e1eb4" providerId="ADAL" clId="{49748B71-420D-4223-8C58-578BCDD5DC5C}" dt="2020-07-13T17:35:28.272" v="2224" actId="478"/>
          <ac:picMkLst>
            <pc:docMk/>
            <pc:sldMk cId="3708489921" sldId="1948764941"/>
            <ac:picMk id="4" creationId="{238B84CB-074A-41B6-924E-7D782F6C4EE6}"/>
          </ac:picMkLst>
        </pc:picChg>
        <pc:picChg chg="add mod ord">
          <ac:chgData name="Baskind, Natalya {PI}" userId="85cf178f-a36f-487c-9312-0511ee9e1eb4" providerId="ADAL" clId="{49748B71-420D-4223-8C58-578BCDD5DC5C}" dt="2020-07-13T19:11:50.914" v="2436" actId="1076"/>
          <ac:picMkLst>
            <pc:docMk/>
            <pc:sldMk cId="3708489921" sldId="1948764941"/>
            <ac:picMk id="7" creationId="{F8FA8D75-5C17-4543-BB14-3484FE31E554}"/>
          </ac:picMkLst>
        </pc:picChg>
        <pc:picChg chg="add mod ord">
          <ac:chgData name="Baskind, Natalya {PI}" userId="85cf178f-a36f-487c-9312-0511ee9e1eb4" providerId="ADAL" clId="{49748B71-420D-4223-8C58-578BCDD5DC5C}" dt="2020-07-13T19:11:54.511" v="2437" actId="1076"/>
          <ac:picMkLst>
            <pc:docMk/>
            <pc:sldMk cId="3708489921" sldId="1948764941"/>
            <ac:picMk id="8" creationId="{853DAB5D-30FC-449F-9230-74F41BEE8994}"/>
          </ac:picMkLst>
        </pc:picChg>
        <pc:picChg chg="add del mod">
          <ac:chgData name="Baskind, Natalya {PI}" userId="85cf178f-a36f-487c-9312-0511ee9e1eb4" providerId="ADAL" clId="{49748B71-420D-4223-8C58-578BCDD5DC5C}" dt="2020-07-13T17:36:58.671" v="2237" actId="478"/>
          <ac:picMkLst>
            <pc:docMk/>
            <pc:sldMk cId="3708489921" sldId="1948764941"/>
            <ac:picMk id="14" creationId="{75EBD090-2D63-4015-AB04-54C0BAC24472}"/>
          </ac:picMkLst>
        </pc:picChg>
        <pc:picChg chg="add del mod">
          <ac:chgData name="Baskind, Natalya {PI}" userId="85cf178f-a36f-487c-9312-0511ee9e1eb4" providerId="ADAL" clId="{49748B71-420D-4223-8C58-578BCDD5DC5C}" dt="2020-07-13T17:36:57.044" v="2236" actId="478"/>
          <ac:picMkLst>
            <pc:docMk/>
            <pc:sldMk cId="3708489921" sldId="1948764941"/>
            <ac:picMk id="15" creationId="{5802C40D-F0E5-436A-8CA8-24D41F697CE7}"/>
          </ac:picMkLst>
        </pc:picChg>
        <pc:picChg chg="del">
          <ac:chgData name="Baskind, Natalya {PI}" userId="85cf178f-a36f-487c-9312-0511ee9e1eb4" providerId="ADAL" clId="{49748B71-420D-4223-8C58-578BCDD5DC5C}" dt="2020-07-13T16:45:25.868" v="1854" actId="478"/>
          <ac:picMkLst>
            <pc:docMk/>
            <pc:sldMk cId="3708489921" sldId="1948764941"/>
            <ac:picMk id="40" creationId="{BB933522-132A-4213-8169-98947242522A}"/>
          </ac:picMkLst>
        </pc:picChg>
        <pc:cxnChg chg="add del">
          <ac:chgData name="Baskind, Natalya {PI}" userId="85cf178f-a36f-487c-9312-0511ee9e1eb4" providerId="ADAL" clId="{49748B71-420D-4223-8C58-578BCDD5DC5C}" dt="2020-07-13T18:57:59.040" v="2252" actId="26606"/>
          <ac:cxnSpMkLst>
            <pc:docMk/>
            <pc:sldMk cId="3708489921" sldId="1948764941"/>
            <ac:cxnSpMk id="66" creationId="{8C730EAB-A532-4295-A302-FB4B90DB9F5E}"/>
          </ac:cxnSpMkLst>
        </pc:cxnChg>
        <pc:cxnChg chg="add del">
          <ac:chgData name="Baskind, Natalya {PI}" userId="85cf178f-a36f-487c-9312-0511ee9e1eb4" providerId="ADAL" clId="{49748B71-420D-4223-8C58-578BCDD5DC5C}" dt="2020-07-13T17:36:15.323" v="2230" actId="26606"/>
          <ac:cxnSpMkLst>
            <pc:docMk/>
            <pc:sldMk cId="3708489921" sldId="1948764941"/>
            <ac:cxnSpMk id="69" creationId="{982DC870-E8E5-4050-B10C-CC24FC67E50A}"/>
          </ac:cxnSpMkLst>
        </pc:cxnChg>
        <pc:cxnChg chg="add del">
          <ac:chgData name="Baskind, Natalya {PI}" userId="85cf178f-a36f-487c-9312-0511ee9e1eb4" providerId="ADAL" clId="{49748B71-420D-4223-8C58-578BCDD5DC5C}" dt="2020-07-13T17:36:15.323" v="2230" actId="26606"/>
          <ac:cxnSpMkLst>
            <pc:docMk/>
            <pc:sldMk cId="3708489921" sldId="1948764941"/>
            <ac:cxnSpMk id="70" creationId="{FF76A74F-C283-4DED-BD4D-086753B7CB00}"/>
          </ac:cxnSpMkLst>
        </pc:cxnChg>
        <pc:cxnChg chg="add del">
          <ac:chgData name="Baskind, Natalya {PI}" userId="85cf178f-a36f-487c-9312-0511ee9e1eb4" providerId="ADAL" clId="{49748B71-420D-4223-8C58-578BCDD5DC5C}" dt="2020-07-13T17:36:29.296" v="2232" actId="26606"/>
          <ac:cxnSpMkLst>
            <pc:docMk/>
            <pc:sldMk cId="3708489921" sldId="1948764941"/>
            <ac:cxnSpMk id="72" creationId="{DC034BB4-8B50-4484-85C4-0CE4699284D7}"/>
          </ac:cxnSpMkLst>
        </pc:cxnChg>
        <pc:cxnChg chg="add del">
          <ac:chgData name="Baskind, Natalya {PI}" userId="85cf178f-a36f-487c-9312-0511ee9e1eb4" providerId="ADAL" clId="{49748B71-420D-4223-8C58-578BCDD5DC5C}" dt="2020-07-13T17:22:55.622" v="2212" actId="26606"/>
          <ac:cxnSpMkLst>
            <pc:docMk/>
            <pc:sldMk cId="3708489921" sldId="1948764941"/>
            <ac:cxnSpMk id="73" creationId="{7E7C77BC-7138-40B1-A15B-20F57A494629}"/>
          </ac:cxnSpMkLst>
        </pc:cxnChg>
        <pc:cxnChg chg="add del">
          <ac:chgData name="Baskind, Natalya {PI}" userId="85cf178f-a36f-487c-9312-0511ee9e1eb4" providerId="ADAL" clId="{49748B71-420D-4223-8C58-578BCDD5DC5C}" dt="2020-07-13T17:36:29.296" v="2232" actId="26606"/>
          <ac:cxnSpMkLst>
            <pc:docMk/>
            <pc:sldMk cId="3708489921" sldId="1948764941"/>
            <ac:cxnSpMk id="74" creationId="{81B200F7-B57A-4824-BB91-B6624450A5AC}"/>
          </ac:cxnSpMkLst>
        </pc:cxnChg>
        <pc:cxnChg chg="add del">
          <ac:chgData name="Baskind, Natalya {PI}" userId="85cf178f-a36f-487c-9312-0511ee9e1eb4" providerId="ADAL" clId="{49748B71-420D-4223-8C58-578BCDD5DC5C}" dt="2020-07-13T17:22:55.622" v="2212" actId="26606"/>
          <ac:cxnSpMkLst>
            <pc:docMk/>
            <pc:sldMk cId="3708489921" sldId="1948764941"/>
            <ac:cxnSpMk id="75" creationId="{DB146403-F3D6-484B-B2ED-97F9565D0370}"/>
          </ac:cxnSpMkLst>
        </pc:cxnChg>
        <pc:cxnChg chg="add del">
          <ac:chgData name="Baskind, Natalya {PI}" userId="85cf178f-a36f-487c-9312-0511ee9e1eb4" providerId="ADAL" clId="{49748B71-420D-4223-8C58-578BCDD5DC5C}" dt="2020-07-13T17:36:29.296" v="2232" actId="26606"/>
          <ac:cxnSpMkLst>
            <pc:docMk/>
            <pc:sldMk cId="3708489921" sldId="1948764941"/>
            <ac:cxnSpMk id="76" creationId="{1902062F-7F47-41E5-8574-2D1492D58ED3}"/>
          </ac:cxnSpMkLst>
        </pc:cxnChg>
        <pc:cxnChg chg="add del">
          <ac:chgData name="Baskind, Natalya {PI}" userId="85cf178f-a36f-487c-9312-0511ee9e1eb4" providerId="ADAL" clId="{49748B71-420D-4223-8C58-578BCDD5DC5C}" dt="2020-07-13T17:36:15.323" v="2230" actId="26606"/>
          <ac:cxnSpMkLst>
            <pc:docMk/>
            <pc:sldMk cId="3708489921" sldId="1948764941"/>
            <ac:cxnSpMk id="77" creationId="{3B2791FB-B2F7-4BBE-B8D8-74C37FF9E85C}"/>
          </ac:cxnSpMkLst>
        </pc:cxnChg>
        <pc:cxnChg chg="add del">
          <ac:chgData name="Baskind, Natalya {PI}" userId="85cf178f-a36f-487c-9312-0511ee9e1eb4" providerId="ADAL" clId="{49748B71-420D-4223-8C58-578BCDD5DC5C}" dt="2020-07-13T17:36:29.296" v="2232" actId="26606"/>
          <ac:cxnSpMkLst>
            <pc:docMk/>
            <pc:sldMk cId="3708489921" sldId="1948764941"/>
            <ac:cxnSpMk id="78" creationId="{FA92245C-961F-47D5-9691-272D28692D45}"/>
          </ac:cxnSpMkLst>
        </pc:cxnChg>
        <pc:cxnChg chg="add del">
          <ac:chgData name="Baskind, Natalya {PI}" userId="85cf178f-a36f-487c-9312-0511ee9e1eb4" providerId="ADAL" clId="{49748B71-420D-4223-8C58-578BCDD5DC5C}" dt="2020-07-13T17:36:15.323" v="2230" actId="26606"/>
          <ac:cxnSpMkLst>
            <pc:docMk/>
            <pc:sldMk cId="3708489921" sldId="1948764941"/>
            <ac:cxnSpMk id="79" creationId="{9891B5DE-6811-4844-BB18-472A3F360EE5}"/>
          </ac:cxnSpMkLst>
        </pc:cxnChg>
        <pc:cxnChg chg="add del">
          <ac:chgData name="Baskind, Natalya {PI}" userId="85cf178f-a36f-487c-9312-0511ee9e1eb4" providerId="ADAL" clId="{49748B71-420D-4223-8C58-578BCDD5DC5C}" dt="2020-07-13T19:07:54.579" v="2302" actId="26606"/>
          <ac:cxnSpMkLst>
            <pc:docMk/>
            <pc:sldMk cId="3708489921" sldId="1948764941"/>
            <ac:cxnSpMk id="80" creationId="{8F880EF2-DF79-4D9D-8F11-E91D48C79741}"/>
          </ac:cxnSpMkLst>
        </pc:cxnChg>
        <pc:cxnChg chg="add del">
          <ac:chgData name="Baskind, Natalya {PI}" userId="85cf178f-a36f-487c-9312-0511ee9e1eb4" providerId="ADAL" clId="{49748B71-420D-4223-8C58-578BCDD5DC5C}" dt="2020-07-13T17:36:15.323" v="2230" actId="26606"/>
          <ac:cxnSpMkLst>
            <pc:docMk/>
            <pc:sldMk cId="3708489921" sldId="1948764941"/>
            <ac:cxnSpMk id="81" creationId="{77A9CA3A-7216-41E0-B3CD-058077FD396D}"/>
          </ac:cxnSpMkLst>
        </pc:cxnChg>
        <pc:cxnChg chg="add del">
          <ac:chgData name="Baskind, Natalya {PI}" userId="85cf178f-a36f-487c-9312-0511ee9e1eb4" providerId="ADAL" clId="{49748B71-420D-4223-8C58-578BCDD5DC5C}" dt="2020-07-13T19:09:24.555" v="2318" actId="26606"/>
          <ac:cxnSpMkLst>
            <pc:docMk/>
            <pc:sldMk cId="3708489921" sldId="1948764941"/>
            <ac:cxnSpMk id="85" creationId="{8F880EF2-DF79-4D9D-8F11-E91D48C79741}"/>
          </ac:cxnSpMkLst>
        </pc:cxnChg>
      </pc:sldChg>
      <pc:sldChg chg="addSp delSp add del mod">
        <pc:chgData name="Baskind, Natalya {PI}" userId="85cf178f-a36f-487c-9312-0511ee9e1eb4" providerId="ADAL" clId="{49748B71-420D-4223-8C58-578BCDD5DC5C}" dt="2020-07-13T19:11:36.626" v="2434" actId="47"/>
        <pc:sldMkLst>
          <pc:docMk/>
          <pc:sldMk cId="719787462" sldId="1948764942"/>
        </pc:sldMkLst>
        <pc:spChg chg="add">
          <ac:chgData name="Baskind, Natalya {PI}" userId="85cf178f-a36f-487c-9312-0511ee9e1eb4" providerId="ADAL" clId="{49748B71-420D-4223-8C58-578BCDD5DC5C}" dt="2020-07-13T17:33:39.583" v="2223"/>
          <ac:spMkLst>
            <pc:docMk/>
            <pc:sldMk cId="719787462" sldId="1948764942"/>
            <ac:spMk id="8" creationId="{F3A08B57-EC26-4475-9116-42FA7DE43784}"/>
          </ac:spMkLst>
        </pc:spChg>
        <pc:spChg chg="add">
          <ac:chgData name="Baskind, Natalya {PI}" userId="85cf178f-a36f-487c-9312-0511ee9e1eb4" providerId="ADAL" clId="{49748B71-420D-4223-8C58-578BCDD5DC5C}" dt="2020-07-13T17:33:39.583" v="2223"/>
          <ac:spMkLst>
            <pc:docMk/>
            <pc:sldMk cId="719787462" sldId="1948764942"/>
            <ac:spMk id="9" creationId="{F8650626-F253-48D3-846C-1D733A6CBBA5}"/>
          </ac:spMkLst>
        </pc:spChg>
        <pc:spChg chg="add">
          <ac:chgData name="Baskind, Natalya {PI}" userId="85cf178f-a36f-487c-9312-0511ee9e1eb4" providerId="ADAL" clId="{49748B71-420D-4223-8C58-578BCDD5DC5C}" dt="2020-07-13T17:33:39.583" v="2223"/>
          <ac:spMkLst>
            <pc:docMk/>
            <pc:sldMk cId="719787462" sldId="1948764942"/>
            <ac:spMk id="10" creationId="{AC3628D6-BAED-4612-BEDB-4803660D2826}"/>
          </ac:spMkLst>
        </pc:spChg>
        <pc:spChg chg="add">
          <ac:chgData name="Baskind, Natalya {PI}" userId="85cf178f-a36f-487c-9312-0511ee9e1eb4" providerId="ADAL" clId="{49748B71-420D-4223-8C58-578BCDD5DC5C}" dt="2020-07-13T17:33:39.583" v="2223"/>
          <ac:spMkLst>
            <pc:docMk/>
            <pc:sldMk cId="719787462" sldId="1948764942"/>
            <ac:spMk id="11" creationId="{306A525B-8E04-4476-BF40-9911BD2B705B}"/>
          </ac:spMkLst>
        </pc:spChg>
        <pc:spChg chg="add">
          <ac:chgData name="Baskind, Natalya {PI}" userId="85cf178f-a36f-487c-9312-0511ee9e1eb4" providerId="ADAL" clId="{49748B71-420D-4223-8C58-578BCDD5DC5C}" dt="2020-07-13T17:33:39.583" v="2223"/>
          <ac:spMkLst>
            <pc:docMk/>
            <pc:sldMk cId="719787462" sldId="1948764942"/>
            <ac:spMk id="12" creationId="{833C95BB-018C-40E3-826E-3103F6EE9269}"/>
          </ac:spMkLst>
        </pc:spChg>
        <pc:spChg chg="add">
          <ac:chgData name="Baskind, Natalya {PI}" userId="85cf178f-a36f-487c-9312-0511ee9e1eb4" providerId="ADAL" clId="{49748B71-420D-4223-8C58-578BCDD5DC5C}" dt="2020-07-13T17:33:39.583" v="2223"/>
          <ac:spMkLst>
            <pc:docMk/>
            <pc:sldMk cId="719787462" sldId="1948764942"/>
            <ac:spMk id="13" creationId="{19DFD66F-F7C5-4523-A701-75F5335CF1BB}"/>
          </ac:spMkLst>
        </pc:spChg>
        <pc:spChg chg="add">
          <ac:chgData name="Baskind, Natalya {PI}" userId="85cf178f-a36f-487c-9312-0511ee9e1eb4" providerId="ADAL" clId="{49748B71-420D-4223-8C58-578BCDD5DC5C}" dt="2020-07-13T17:33:39.583" v="2223"/>
          <ac:spMkLst>
            <pc:docMk/>
            <pc:sldMk cId="719787462" sldId="1948764942"/>
            <ac:spMk id="18" creationId="{F199AA39-EDC5-43A6-A4EF-756AECD55FDD}"/>
          </ac:spMkLst>
        </pc:spChg>
        <pc:spChg chg="add">
          <ac:chgData name="Baskind, Natalya {PI}" userId="85cf178f-a36f-487c-9312-0511ee9e1eb4" providerId="ADAL" clId="{49748B71-420D-4223-8C58-578BCDD5DC5C}" dt="2020-07-13T17:33:39.583" v="2223"/>
          <ac:spMkLst>
            <pc:docMk/>
            <pc:sldMk cId="719787462" sldId="1948764942"/>
            <ac:spMk id="19" creationId="{514B98F5-9083-4B48-8C5C-44CBAFB68BA9}"/>
          </ac:spMkLst>
        </pc:spChg>
        <pc:picChg chg="del">
          <ac:chgData name="Baskind, Natalya {PI}" userId="85cf178f-a36f-487c-9312-0511ee9e1eb4" providerId="ADAL" clId="{49748B71-420D-4223-8C58-578BCDD5DC5C}" dt="2020-07-13T17:33:23.886" v="2221" actId="478"/>
          <ac:picMkLst>
            <pc:docMk/>
            <pc:sldMk cId="719787462" sldId="1948764942"/>
            <ac:picMk id="2" creationId="{AB05C99D-6D31-46F8-9F28-30D37198AE62}"/>
          </ac:picMkLst>
        </pc:picChg>
        <pc:picChg chg="del">
          <ac:chgData name="Baskind, Natalya {PI}" userId="85cf178f-a36f-487c-9312-0511ee9e1eb4" providerId="ADAL" clId="{49748B71-420D-4223-8C58-578BCDD5DC5C}" dt="2020-07-13T17:33:25.255" v="2222" actId="478"/>
          <ac:picMkLst>
            <pc:docMk/>
            <pc:sldMk cId="719787462" sldId="1948764942"/>
            <ac:picMk id="3" creationId="{BBDDAE6A-EBF8-46BC-8905-2C6B92162554}"/>
          </ac:picMkLst>
        </pc:picChg>
        <pc:picChg chg="del">
          <ac:chgData name="Baskind, Natalya {PI}" userId="85cf178f-a36f-487c-9312-0511ee9e1eb4" providerId="ADAL" clId="{49748B71-420D-4223-8C58-578BCDD5DC5C}" dt="2020-07-13T17:33:18.917" v="2219" actId="478"/>
          <ac:picMkLst>
            <pc:docMk/>
            <pc:sldMk cId="719787462" sldId="1948764942"/>
            <ac:picMk id="4" creationId="{238B84CB-074A-41B6-924E-7D782F6C4EE6}"/>
          </ac:picMkLst>
        </pc:picChg>
        <pc:picChg chg="del">
          <ac:chgData name="Baskind, Natalya {PI}" userId="85cf178f-a36f-487c-9312-0511ee9e1eb4" providerId="ADAL" clId="{49748B71-420D-4223-8C58-578BCDD5DC5C}" dt="2020-07-13T17:33:22.142" v="2220" actId="478"/>
          <ac:picMkLst>
            <pc:docMk/>
            <pc:sldMk cId="719787462" sldId="1948764942"/>
            <ac:picMk id="7" creationId="{F8FA8D75-5C17-4543-BB14-3484FE31E554}"/>
          </ac:picMkLst>
        </pc:picChg>
        <pc:picChg chg="add">
          <ac:chgData name="Baskind, Natalya {PI}" userId="85cf178f-a36f-487c-9312-0511ee9e1eb4" providerId="ADAL" clId="{49748B71-420D-4223-8C58-578BCDD5DC5C}" dt="2020-07-13T17:33:39.583" v="2223"/>
          <ac:picMkLst>
            <pc:docMk/>
            <pc:sldMk cId="719787462" sldId="1948764942"/>
            <ac:picMk id="14" creationId="{81D05914-D6D5-4F53-9530-71E164D6486E}"/>
          </ac:picMkLst>
        </pc:picChg>
        <pc:picChg chg="add">
          <ac:chgData name="Baskind, Natalya {PI}" userId="85cf178f-a36f-487c-9312-0511ee9e1eb4" providerId="ADAL" clId="{49748B71-420D-4223-8C58-578BCDD5DC5C}" dt="2020-07-13T17:33:39.583" v="2223"/>
          <ac:picMkLst>
            <pc:docMk/>
            <pc:sldMk cId="719787462" sldId="1948764942"/>
            <ac:picMk id="15" creationId="{985B5A34-73BA-44D0-A2A2-837373300F9B}"/>
          </ac:picMkLst>
        </pc:picChg>
        <pc:picChg chg="add">
          <ac:chgData name="Baskind, Natalya {PI}" userId="85cf178f-a36f-487c-9312-0511ee9e1eb4" providerId="ADAL" clId="{49748B71-420D-4223-8C58-578BCDD5DC5C}" dt="2020-07-13T17:33:39.583" v="2223"/>
          <ac:picMkLst>
            <pc:docMk/>
            <pc:sldMk cId="719787462" sldId="1948764942"/>
            <ac:picMk id="16" creationId="{1A21C46C-F956-46D5-88D9-6D2970B36AFD}"/>
          </ac:picMkLst>
        </pc:picChg>
        <pc:picChg chg="add">
          <ac:chgData name="Baskind, Natalya {PI}" userId="85cf178f-a36f-487c-9312-0511ee9e1eb4" providerId="ADAL" clId="{49748B71-420D-4223-8C58-578BCDD5DC5C}" dt="2020-07-13T17:33:39.583" v="2223"/>
          <ac:picMkLst>
            <pc:docMk/>
            <pc:sldMk cId="719787462" sldId="1948764942"/>
            <ac:picMk id="17" creationId="{E093C549-FD33-4FA8-BA96-C08EF7031DC6}"/>
          </ac:picMkLst>
        </pc:picChg>
        <pc:picChg chg="add">
          <ac:chgData name="Baskind, Natalya {PI}" userId="85cf178f-a36f-487c-9312-0511ee9e1eb4" providerId="ADAL" clId="{49748B71-420D-4223-8C58-578BCDD5DC5C}" dt="2020-07-13T17:33:39.583" v="2223"/>
          <ac:picMkLst>
            <pc:docMk/>
            <pc:sldMk cId="719787462" sldId="1948764942"/>
            <ac:picMk id="20" creationId="{937C78BA-036C-4683-8D2E-4708A3918677}"/>
          </ac:picMkLst>
        </pc:picChg>
        <pc:picChg chg="add">
          <ac:chgData name="Baskind, Natalya {PI}" userId="85cf178f-a36f-487c-9312-0511ee9e1eb4" providerId="ADAL" clId="{49748B71-420D-4223-8C58-578BCDD5DC5C}" dt="2020-07-13T17:33:39.583" v="2223"/>
          <ac:picMkLst>
            <pc:docMk/>
            <pc:sldMk cId="719787462" sldId="1948764942"/>
            <ac:picMk id="21" creationId="{4B724E78-E9A5-4484-9BEC-3289BF3DA53A}"/>
          </ac:picMkLst>
        </pc:picChg>
      </pc:sldChg>
      <pc:sldChg chg="modSp add mod setBg">
        <pc:chgData name="Baskind, Natalya {PI}" userId="85cf178f-a36f-487c-9312-0511ee9e1eb4" providerId="ADAL" clId="{49748B71-420D-4223-8C58-578BCDD5DC5C}" dt="2020-07-13T19:23:49.015" v="3005" actId="20577"/>
        <pc:sldMkLst>
          <pc:docMk/>
          <pc:sldMk cId="3581452208" sldId="1948764943"/>
        </pc:sldMkLst>
        <pc:spChg chg="mod">
          <ac:chgData name="Baskind, Natalya {PI}" userId="85cf178f-a36f-487c-9312-0511ee9e1eb4" providerId="ADAL" clId="{49748B71-420D-4223-8C58-578BCDD5DC5C}" dt="2020-07-13T19:23:49.015" v="3005" actId="20577"/>
          <ac:spMkLst>
            <pc:docMk/>
            <pc:sldMk cId="3581452208" sldId="1948764943"/>
            <ac:spMk id="2" creationId="{2E1F335D-983A-8949-99D5-DBDAEED46BC4}"/>
          </ac:spMkLst>
        </pc:spChg>
      </pc:sldChg>
      <pc:sldChg chg="addSp delSp modSp add mod ord">
        <pc:chgData name="Baskind, Natalya {PI}" userId="85cf178f-a36f-487c-9312-0511ee9e1eb4" providerId="ADAL" clId="{49748B71-420D-4223-8C58-578BCDD5DC5C}" dt="2020-07-13T20:15:54.304" v="3277" actId="13926"/>
        <pc:sldMkLst>
          <pc:docMk/>
          <pc:sldMk cId="4078796681" sldId="1948764944"/>
        </pc:sldMkLst>
        <pc:spChg chg="add del mod">
          <ac:chgData name="Baskind, Natalya {PI}" userId="85cf178f-a36f-487c-9312-0511ee9e1eb4" providerId="ADAL" clId="{49748B71-420D-4223-8C58-578BCDD5DC5C}" dt="2020-07-13T19:17:33.271" v="2556"/>
          <ac:spMkLst>
            <pc:docMk/>
            <pc:sldMk cId="4078796681" sldId="1948764944"/>
            <ac:spMk id="2" creationId="{DF442CC9-8526-4BAE-8AE7-87BDBE05B448}"/>
          </ac:spMkLst>
        </pc:spChg>
        <pc:spChg chg="add mod">
          <ac:chgData name="Baskind, Natalya {PI}" userId="85cf178f-a36f-487c-9312-0511ee9e1eb4" providerId="ADAL" clId="{49748B71-420D-4223-8C58-578BCDD5DC5C}" dt="2020-07-13T20:15:54.304" v="3277" actId="13926"/>
          <ac:spMkLst>
            <pc:docMk/>
            <pc:sldMk cId="4078796681" sldId="1948764944"/>
            <ac:spMk id="3" creationId="{8D0FBC02-ED52-4594-BA73-9F7D30A07A18}"/>
          </ac:spMkLst>
        </pc:spChg>
        <pc:spChg chg="mod">
          <ac:chgData name="Baskind, Natalya {PI}" userId="85cf178f-a36f-487c-9312-0511ee9e1eb4" providerId="ADAL" clId="{49748B71-420D-4223-8C58-578BCDD5DC5C}" dt="2020-07-13T19:17:29.510" v="2554" actId="114"/>
          <ac:spMkLst>
            <pc:docMk/>
            <pc:sldMk cId="4078796681" sldId="1948764944"/>
            <ac:spMk id="5" creationId="{E75ADC87-2BD1-462F-8BFA-0521E66F10AD}"/>
          </ac:spMkLst>
        </pc:spChg>
      </pc:sldChg>
      <pc:sldChg chg="addSp modSp add mod modNotesTx">
        <pc:chgData name="Baskind, Natalya {PI}" userId="85cf178f-a36f-487c-9312-0511ee9e1eb4" providerId="ADAL" clId="{49748B71-420D-4223-8C58-578BCDD5DC5C}" dt="2020-07-13T20:22:29.785" v="3466" actId="13926"/>
        <pc:sldMkLst>
          <pc:docMk/>
          <pc:sldMk cId="165076078" sldId="1948764945"/>
        </pc:sldMkLst>
        <pc:spChg chg="add mod">
          <ac:chgData name="Baskind, Natalya {PI}" userId="85cf178f-a36f-487c-9312-0511ee9e1eb4" providerId="ADAL" clId="{49748B71-420D-4223-8C58-578BCDD5DC5C}" dt="2020-07-13T20:22:29.785" v="3466" actId="13926"/>
          <ac:spMkLst>
            <pc:docMk/>
            <pc:sldMk cId="165076078" sldId="1948764945"/>
            <ac:spMk id="3" creationId="{66E7AAAE-C712-47C1-AD18-3454D62EE611}"/>
          </ac:spMkLst>
        </pc:spChg>
        <pc:spChg chg="mod">
          <ac:chgData name="Baskind, Natalya {PI}" userId="85cf178f-a36f-487c-9312-0511ee9e1eb4" providerId="ADAL" clId="{49748B71-420D-4223-8C58-578BCDD5DC5C}" dt="2020-07-13T19:37:38.523" v="3061" actId="6549"/>
          <ac:spMkLst>
            <pc:docMk/>
            <pc:sldMk cId="165076078" sldId="1948764945"/>
            <ac:spMk id="5" creationId="{E75ADC87-2BD1-462F-8BFA-0521E66F10AD}"/>
          </ac:spMkLst>
        </pc:spChg>
      </pc:sldChg>
      <pc:sldChg chg="add">
        <pc:chgData name="Baskind, Natalya {PI}" userId="85cf178f-a36f-487c-9312-0511ee9e1eb4" providerId="ADAL" clId="{49748B71-420D-4223-8C58-578BCDD5DC5C}" dt="2020-07-13T19:46:37.403" v="3068" actId="22"/>
        <pc:sldMkLst>
          <pc:docMk/>
          <pc:sldMk cId="4002389244" sldId="1948764946"/>
        </pc:sldMkLst>
      </pc:sldChg>
      <pc:sldChg chg="add del mod modShow">
        <pc:chgData name="Baskind, Natalya {PI}" userId="85cf178f-a36f-487c-9312-0511ee9e1eb4" providerId="ADAL" clId="{49748B71-420D-4223-8C58-578BCDD5DC5C}" dt="2020-07-13T20:22:44.166" v="3468" actId="47"/>
        <pc:sldMkLst>
          <pc:docMk/>
          <pc:sldMk cId="2253888632" sldId="1948764947"/>
        </pc:sldMkLst>
      </pc:sldChg>
      <pc:sldChg chg="modSp add mod">
        <pc:chgData name="Baskind, Natalya {PI}" userId="85cf178f-a36f-487c-9312-0511ee9e1eb4" providerId="ADAL" clId="{49748B71-420D-4223-8C58-578BCDD5DC5C}" dt="2020-07-13T19:47:26.561" v="3071" actId="20577"/>
        <pc:sldMkLst>
          <pc:docMk/>
          <pc:sldMk cId="3702187928" sldId="1948764948"/>
        </pc:sldMkLst>
        <pc:spChg chg="mod">
          <ac:chgData name="Baskind, Natalya {PI}" userId="85cf178f-a36f-487c-9312-0511ee9e1eb4" providerId="ADAL" clId="{49748B71-420D-4223-8C58-578BCDD5DC5C}" dt="2020-07-13T19:47:26.561" v="3071" actId="20577"/>
          <ac:spMkLst>
            <pc:docMk/>
            <pc:sldMk cId="3702187928" sldId="1948764948"/>
            <ac:spMk id="129" creationId="{00000000-0000-0000-0000-000000000000}"/>
          </ac:spMkLst>
        </pc:spChg>
      </pc:sldChg>
      <pc:sldChg chg="modSp add mod">
        <pc:chgData name="Baskind, Natalya {PI}" userId="85cf178f-a36f-487c-9312-0511ee9e1eb4" providerId="ADAL" clId="{49748B71-420D-4223-8C58-578BCDD5DC5C}" dt="2020-07-13T19:48:56.755" v="3089" actId="1035"/>
        <pc:sldMkLst>
          <pc:docMk/>
          <pc:sldMk cId="38169679" sldId="1948764949"/>
        </pc:sldMkLst>
        <pc:picChg chg="mod">
          <ac:chgData name="Baskind, Natalya {PI}" userId="85cf178f-a36f-487c-9312-0511ee9e1eb4" providerId="ADAL" clId="{49748B71-420D-4223-8C58-578BCDD5DC5C}" dt="2020-07-13T19:48:56.755" v="3089" actId="1035"/>
          <ac:picMkLst>
            <pc:docMk/>
            <pc:sldMk cId="38169679" sldId="1948764949"/>
            <ac:picMk id="287" creationId="{00000000-0000-0000-0000-000000000000}"/>
          </ac:picMkLst>
        </pc:picChg>
      </pc:sldChg>
      <pc:sldChg chg="add">
        <pc:chgData name="Baskind, Natalya {PI}" userId="85cf178f-a36f-487c-9312-0511ee9e1eb4" providerId="ADAL" clId="{49748B71-420D-4223-8C58-578BCDD5DC5C}" dt="2020-07-13T19:54:06.991" v="3092"/>
        <pc:sldMkLst>
          <pc:docMk/>
          <pc:sldMk cId="2132211201" sldId="1948764950"/>
        </pc:sldMkLst>
      </pc:sldChg>
      <pc:sldChg chg="add del">
        <pc:chgData name="Baskind, Natalya {PI}" userId="85cf178f-a36f-487c-9312-0511ee9e1eb4" providerId="ADAL" clId="{49748B71-420D-4223-8C58-578BCDD5DC5C}" dt="2020-07-13T19:58:28.293" v="3094" actId="47"/>
        <pc:sldMkLst>
          <pc:docMk/>
          <pc:sldMk cId="1713847190" sldId="1948764951"/>
        </pc:sldMkLst>
      </pc:sldChg>
      <pc:sldChg chg="add del">
        <pc:chgData name="Baskind, Natalya {PI}" userId="85cf178f-a36f-487c-9312-0511ee9e1eb4" providerId="ADAL" clId="{49748B71-420D-4223-8C58-578BCDD5DC5C}" dt="2020-07-13T20:00:23.661" v="3109" actId="47"/>
        <pc:sldMkLst>
          <pc:docMk/>
          <pc:sldMk cId="1767497526" sldId="1948764951"/>
        </pc:sldMkLst>
      </pc:sldChg>
      <pc:sldChg chg="add del">
        <pc:chgData name="Baskind, Natalya {PI}" userId="85cf178f-a36f-487c-9312-0511ee9e1eb4" providerId="ADAL" clId="{49748B71-420D-4223-8C58-578BCDD5DC5C}" dt="2020-07-13T20:00:01.086" v="3107" actId="47"/>
        <pc:sldMkLst>
          <pc:docMk/>
          <pc:sldMk cId="2739371333" sldId="1948764951"/>
        </pc:sldMkLst>
      </pc:sldChg>
      <pc:sldChg chg="add del">
        <pc:chgData name="Baskind, Natalya {PI}" userId="85cf178f-a36f-487c-9312-0511ee9e1eb4" providerId="ADAL" clId="{49748B71-420D-4223-8C58-578BCDD5DC5C}" dt="2020-07-13T20:14:00.484" v="3260" actId="47"/>
        <pc:sldMkLst>
          <pc:docMk/>
          <pc:sldMk cId="223608895" sldId="1948764952"/>
        </pc:sldMkLst>
      </pc:sldChg>
      <pc:sldChg chg="add del">
        <pc:chgData name="Baskind, Natalya {PI}" userId="85cf178f-a36f-487c-9312-0511ee9e1eb4" providerId="ADAL" clId="{49748B71-420D-4223-8C58-578BCDD5DC5C}" dt="2020-07-13T20:14:02.134" v="3261" actId="47"/>
        <pc:sldMkLst>
          <pc:docMk/>
          <pc:sldMk cId="2560863113" sldId="1948764953"/>
        </pc:sldMkLst>
      </pc:sldChg>
      <pc:sldChg chg="addSp modSp add mod">
        <pc:chgData name="Baskind, Natalya {PI}" userId="85cf178f-a36f-487c-9312-0511ee9e1eb4" providerId="ADAL" clId="{49748B71-420D-4223-8C58-578BCDD5DC5C}" dt="2020-07-13T20:01:35.516" v="3153" actId="1036"/>
        <pc:sldMkLst>
          <pc:docMk/>
          <pc:sldMk cId="58344863" sldId="1948764954"/>
        </pc:sldMkLst>
        <pc:spChg chg="add mod">
          <ac:chgData name="Baskind, Natalya {PI}" userId="85cf178f-a36f-487c-9312-0511ee9e1eb4" providerId="ADAL" clId="{49748B71-420D-4223-8C58-578BCDD5DC5C}" dt="2020-07-13T20:01:35.516" v="3153" actId="1036"/>
          <ac:spMkLst>
            <pc:docMk/>
            <pc:sldMk cId="58344863" sldId="1948764954"/>
            <ac:spMk id="9" creationId="{A7940C5D-6B63-4F40-AE0A-7E5B93EC71C8}"/>
          </ac:spMkLst>
        </pc:spChg>
      </pc:sldChg>
      <pc:sldChg chg="add">
        <pc:chgData name="Baskind, Natalya {PI}" userId="85cf178f-a36f-487c-9312-0511ee9e1eb4" providerId="ADAL" clId="{49748B71-420D-4223-8C58-578BCDD5DC5C}" dt="2020-07-13T20:00:42.785" v="3110" actId="22"/>
        <pc:sldMkLst>
          <pc:docMk/>
          <pc:sldMk cId="469605512" sldId="1948764955"/>
        </pc:sldMkLst>
      </pc:sldChg>
      <pc:sldChg chg="add">
        <pc:chgData name="Baskind, Natalya {PI}" userId="85cf178f-a36f-487c-9312-0511ee9e1eb4" providerId="ADAL" clId="{49748B71-420D-4223-8C58-578BCDD5DC5C}" dt="2020-07-13T20:00:42.785" v="3110" actId="22"/>
        <pc:sldMkLst>
          <pc:docMk/>
          <pc:sldMk cId="2511891395" sldId="1948764956"/>
        </pc:sldMkLst>
      </pc:sldChg>
      <pc:sldChg chg="add del">
        <pc:chgData name="Baskind, Natalya {PI}" userId="85cf178f-a36f-487c-9312-0511ee9e1eb4" providerId="ADAL" clId="{49748B71-420D-4223-8C58-578BCDD5DC5C}" dt="2020-07-13T20:10:36.466" v="3179" actId="47"/>
        <pc:sldMkLst>
          <pc:docMk/>
          <pc:sldMk cId="669739072" sldId="1948764957"/>
        </pc:sldMkLst>
      </pc:sldChg>
      <pc:sldChg chg="add del">
        <pc:chgData name="Baskind, Natalya {PI}" userId="85cf178f-a36f-487c-9312-0511ee9e1eb4" providerId="ADAL" clId="{49748B71-420D-4223-8C58-578BCDD5DC5C}" dt="2020-07-13T20:06:02.244" v="3161" actId="47"/>
        <pc:sldMkLst>
          <pc:docMk/>
          <pc:sldMk cId="2249798830" sldId="1948764958"/>
        </pc:sldMkLst>
      </pc:sldChg>
      <pc:sldChg chg="addSp delSp add del mod">
        <pc:chgData name="Baskind, Natalya {PI}" userId="85cf178f-a36f-487c-9312-0511ee9e1eb4" providerId="ADAL" clId="{49748B71-420D-4223-8C58-578BCDD5DC5C}" dt="2020-07-13T20:10:35.371" v="3178" actId="47"/>
        <pc:sldMkLst>
          <pc:docMk/>
          <pc:sldMk cId="3543775713" sldId="1948764959"/>
        </pc:sldMkLst>
        <pc:spChg chg="add del">
          <ac:chgData name="Baskind, Natalya {PI}" userId="85cf178f-a36f-487c-9312-0511ee9e1eb4" providerId="ADAL" clId="{49748B71-420D-4223-8C58-578BCDD5DC5C}" dt="2020-07-13T20:06:51.816" v="3167" actId="478"/>
          <ac:spMkLst>
            <pc:docMk/>
            <pc:sldMk cId="3543775713" sldId="1948764959"/>
            <ac:spMk id="5" creationId="{9CD29FAF-677D-489F-9358-2D26AD67A8B3}"/>
          </ac:spMkLst>
        </pc:spChg>
      </pc:sldChg>
      <pc:sldChg chg="add del">
        <pc:chgData name="Baskind, Natalya {PI}" userId="85cf178f-a36f-487c-9312-0511ee9e1eb4" providerId="ADAL" clId="{49748B71-420D-4223-8C58-578BCDD5DC5C}" dt="2020-07-13T20:06:06.282" v="3163" actId="47"/>
        <pc:sldMkLst>
          <pc:docMk/>
          <pc:sldMk cId="2249798830" sldId="1948764960"/>
        </pc:sldMkLst>
      </pc:sldChg>
      <pc:sldChg chg="addSp delSp add del mod">
        <pc:chgData name="Baskind, Natalya {PI}" userId="85cf178f-a36f-487c-9312-0511ee9e1eb4" providerId="ADAL" clId="{49748B71-420D-4223-8C58-578BCDD5DC5C}" dt="2020-07-13T20:10:37.515" v="3180" actId="47"/>
        <pc:sldMkLst>
          <pc:docMk/>
          <pc:sldMk cId="2879017987" sldId="1948764960"/>
        </pc:sldMkLst>
        <pc:spChg chg="add del">
          <ac:chgData name="Baskind, Natalya {PI}" userId="85cf178f-a36f-487c-9312-0511ee9e1eb4" providerId="ADAL" clId="{49748B71-420D-4223-8C58-578BCDD5DC5C}" dt="2020-07-13T20:06:52.719" v="3168" actId="478"/>
          <ac:spMkLst>
            <pc:docMk/>
            <pc:sldMk cId="2879017987" sldId="1948764960"/>
            <ac:spMk id="4" creationId="{6D23192D-3318-4BF4-8278-EDF65E060A13}"/>
          </ac:spMkLst>
        </pc:spChg>
      </pc:sldChg>
      <pc:sldChg chg="add">
        <pc:chgData name="Baskind, Natalya {PI}" userId="85cf178f-a36f-487c-9312-0511ee9e1eb4" providerId="ADAL" clId="{49748B71-420D-4223-8C58-578BCDD5DC5C}" dt="2020-07-13T20:07:10.386" v="3169" actId="22"/>
        <pc:sldMkLst>
          <pc:docMk/>
          <pc:sldMk cId="2699378511" sldId="1948764961"/>
        </pc:sldMkLst>
      </pc:sldChg>
      <pc:sldChg chg="add">
        <pc:chgData name="Baskind, Natalya {PI}" userId="85cf178f-a36f-487c-9312-0511ee9e1eb4" providerId="ADAL" clId="{49748B71-420D-4223-8C58-578BCDD5DC5C}" dt="2020-07-13T20:07:10.386" v="3169" actId="22"/>
        <pc:sldMkLst>
          <pc:docMk/>
          <pc:sldMk cId="3352058564" sldId="1948764962"/>
        </pc:sldMkLst>
      </pc:sldChg>
      <pc:sldChg chg="addSp delSp add">
        <pc:chgData name="Baskind, Natalya {PI}" userId="85cf178f-a36f-487c-9312-0511ee9e1eb4" providerId="ADAL" clId="{49748B71-420D-4223-8C58-578BCDD5DC5C}" dt="2020-07-13T20:09:50.077" v="3172"/>
        <pc:sldMkLst>
          <pc:docMk/>
          <pc:sldMk cId="289455897" sldId="1948764963"/>
        </pc:sldMkLst>
        <pc:picChg chg="add del">
          <ac:chgData name="Baskind, Natalya {PI}" userId="85cf178f-a36f-487c-9312-0511ee9e1eb4" providerId="ADAL" clId="{49748B71-420D-4223-8C58-578BCDD5DC5C}" dt="2020-07-13T20:09:50.077" v="3172"/>
          <ac:picMkLst>
            <pc:docMk/>
            <pc:sldMk cId="289455897" sldId="1948764963"/>
            <ac:picMk id="2" creationId="{35492D86-BDE2-4E4A-9BE5-2BBAE974EB81}"/>
          </ac:picMkLst>
        </pc:picChg>
      </pc:sldChg>
      <pc:sldChg chg="addSp delSp add del">
        <pc:chgData name="Baskind, Natalya {PI}" userId="85cf178f-a36f-487c-9312-0511ee9e1eb4" providerId="ADAL" clId="{49748B71-420D-4223-8C58-578BCDD5DC5C}" dt="2020-07-13T20:24:55.124" v="3473" actId="47"/>
        <pc:sldMkLst>
          <pc:docMk/>
          <pc:sldMk cId="2478189701" sldId="1948764964"/>
        </pc:sldMkLst>
        <pc:grpChg chg="del">
          <ac:chgData name="Baskind, Natalya {PI}" userId="85cf178f-a36f-487c-9312-0511ee9e1eb4" providerId="ADAL" clId="{49748B71-420D-4223-8C58-578BCDD5DC5C}" dt="2020-07-13T20:24:41.513" v="3470" actId="478"/>
          <ac:grpSpMkLst>
            <pc:docMk/>
            <pc:sldMk cId="2478189701" sldId="1948764964"/>
            <ac:grpSpMk id="4" creationId="{8058F91D-C909-4FFC-9ABB-7D4553B20DC6}"/>
          </ac:grpSpMkLst>
        </pc:grpChg>
        <pc:picChg chg="add">
          <ac:chgData name="Baskind, Natalya {PI}" userId="85cf178f-a36f-487c-9312-0511ee9e1eb4" providerId="ADAL" clId="{49748B71-420D-4223-8C58-578BCDD5DC5C}" dt="2020-07-13T20:24:37.383" v="3469"/>
          <ac:picMkLst>
            <pc:docMk/>
            <pc:sldMk cId="2478189701" sldId="1948764964"/>
            <ac:picMk id="2" creationId="{F977A7E2-0D62-44A0-BCDB-468FCB68CF04}"/>
          </ac:picMkLst>
        </pc:picChg>
      </pc:sldChg>
      <pc:sldChg chg="addSp modSp new mod">
        <pc:chgData name="Baskind, Natalya {PI}" userId="85cf178f-a36f-487c-9312-0511ee9e1eb4" providerId="ADAL" clId="{49748B71-420D-4223-8C58-578BCDD5DC5C}" dt="2020-07-13T20:10:18.386" v="3177" actId="14100"/>
        <pc:sldMkLst>
          <pc:docMk/>
          <pc:sldMk cId="2588674246" sldId="1948764965"/>
        </pc:sldMkLst>
        <pc:picChg chg="add mod">
          <ac:chgData name="Baskind, Natalya {PI}" userId="85cf178f-a36f-487c-9312-0511ee9e1eb4" providerId="ADAL" clId="{49748B71-420D-4223-8C58-578BCDD5DC5C}" dt="2020-07-13T20:10:18.386" v="3177" actId="14100"/>
          <ac:picMkLst>
            <pc:docMk/>
            <pc:sldMk cId="2588674246" sldId="1948764965"/>
            <ac:picMk id="2" creationId="{F61F7DAD-7E79-4F54-AE65-530CE9D1F73B}"/>
          </ac:picMkLst>
        </pc:picChg>
      </pc:sldChg>
      <pc:sldChg chg="delSp modSp add mod">
        <pc:chgData name="Baskind, Natalya {PI}" userId="85cf178f-a36f-487c-9312-0511ee9e1eb4" providerId="ADAL" clId="{49748B71-420D-4223-8C58-578BCDD5DC5C}" dt="2020-07-13T20:11:35.451" v="3253" actId="478"/>
        <pc:sldMkLst>
          <pc:docMk/>
          <pc:sldMk cId="3035351628" sldId="1948764966"/>
        </pc:sldMkLst>
        <pc:spChg chg="del">
          <ac:chgData name="Baskind, Natalya {PI}" userId="85cf178f-a36f-487c-9312-0511ee9e1eb4" providerId="ADAL" clId="{49748B71-420D-4223-8C58-578BCDD5DC5C}" dt="2020-07-13T20:11:35.451" v="3253" actId="478"/>
          <ac:spMkLst>
            <pc:docMk/>
            <pc:sldMk cId="3035351628" sldId="1948764966"/>
            <ac:spMk id="3" creationId="{66E7AAAE-C712-47C1-AD18-3454D62EE611}"/>
          </ac:spMkLst>
        </pc:spChg>
        <pc:spChg chg="mod">
          <ac:chgData name="Baskind, Natalya {PI}" userId="85cf178f-a36f-487c-9312-0511ee9e1eb4" providerId="ADAL" clId="{49748B71-420D-4223-8C58-578BCDD5DC5C}" dt="2020-07-13T20:11:31.413" v="3252" actId="1038"/>
          <ac:spMkLst>
            <pc:docMk/>
            <pc:sldMk cId="3035351628" sldId="1948764966"/>
            <ac:spMk id="5" creationId="{E75ADC87-2BD1-462F-8BFA-0521E66F10AD}"/>
          </ac:spMkLst>
        </pc:spChg>
      </pc:sldChg>
      <pc:sldChg chg="addSp modSp new mod">
        <pc:chgData name="Baskind, Natalya {PI}" userId="85cf178f-a36f-487c-9312-0511ee9e1eb4" providerId="ADAL" clId="{49748B71-420D-4223-8C58-578BCDD5DC5C}" dt="2020-07-13T20:25:10.322" v="3476" actId="14100"/>
        <pc:sldMkLst>
          <pc:docMk/>
          <pc:sldMk cId="2927775786" sldId="1948764967"/>
        </pc:sldMkLst>
        <pc:picChg chg="add mod">
          <ac:chgData name="Baskind, Natalya {PI}" userId="85cf178f-a36f-487c-9312-0511ee9e1eb4" providerId="ADAL" clId="{49748B71-420D-4223-8C58-578BCDD5DC5C}" dt="2020-07-13T20:25:10.322" v="3476" actId="14100"/>
          <ac:picMkLst>
            <pc:docMk/>
            <pc:sldMk cId="2927775786" sldId="1948764967"/>
            <ac:picMk id="2" creationId="{A3F283E4-E780-4F77-B338-1599ECD7C46C}"/>
          </ac:picMkLst>
        </pc:picChg>
      </pc:sldChg>
      <pc:sldChg chg="modSp add mod">
        <pc:chgData name="Baskind, Natalya {PI}" userId="85cf178f-a36f-487c-9312-0511ee9e1eb4" providerId="ADAL" clId="{49748B71-420D-4223-8C58-578BCDD5DC5C}" dt="2020-07-13T20:29:58.554" v="3622" actId="6549"/>
        <pc:sldMkLst>
          <pc:docMk/>
          <pc:sldMk cId="3179988060" sldId="1948764968"/>
        </pc:sldMkLst>
        <pc:spChg chg="mod">
          <ac:chgData name="Baskind, Natalya {PI}" userId="85cf178f-a36f-487c-9312-0511ee9e1eb4" providerId="ADAL" clId="{49748B71-420D-4223-8C58-578BCDD5DC5C}" dt="2020-07-13T20:29:58.554" v="3622" actId="6549"/>
          <ac:spMkLst>
            <pc:docMk/>
            <pc:sldMk cId="3179988060" sldId="1948764968"/>
            <ac:spMk id="5" creationId="{E75ADC87-2BD1-462F-8BFA-0521E66F10AD}"/>
          </ac:spMkLst>
        </pc:spChg>
      </pc:sldChg>
      <pc:sldMasterChg chg="addSldLayout delSldLayout">
        <pc:chgData name="Baskind, Natalya {PI}" userId="85cf178f-a36f-487c-9312-0511ee9e1eb4" providerId="ADAL" clId="{49748B71-420D-4223-8C58-578BCDD5DC5C}" dt="2020-07-13T20:15:31.390" v="3276" actId="47"/>
        <pc:sldMasterMkLst>
          <pc:docMk/>
          <pc:sldMasterMk cId="2408177787" sldId="2147483648"/>
        </pc:sldMasterMkLst>
        <pc:sldLayoutChg chg="del">
          <pc:chgData name="Baskind, Natalya {PI}" userId="85cf178f-a36f-487c-9312-0511ee9e1eb4" providerId="ADAL" clId="{49748B71-420D-4223-8C58-578BCDD5DC5C}" dt="2020-07-13T19:46:29.636" v="3067" actId="2696"/>
          <pc:sldLayoutMkLst>
            <pc:docMk/>
            <pc:sldMasterMk cId="2408177787" sldId="2147483648"/>
            <pc:sldLayoutMk cId="3128286984" sldId="2147483667"/>
          </pc:sldLayoutMkLst>
        </pc:sldLayoutChg>
        <pc:sldLayoutChg chg="del">
          <pc:chgData name="Baskind, Natalya {PI}" userId="85cf178f-a36f-487c-9312-0511ee9e1eb4" providerId="ADAL" clId="{49748B71-420D-4223-8C58-578BCDD5DC5C}" dt="2020-07-13T20:15:19.532" v="3273" actId="47"/>
          <pc:sldLayoutMkLst>
            <pc:docMk/>
            <pc:sldMasterMk cId="2408177787" sldId="2147483648"/>
            <pc:sldLayoutMk cId="1577086539" sldId="2147483669"/>
          </pc:sldLayoutMkLst>
        </pc:sldLayoutChg>
        <pc:sldLayoutChg chg="del">
          <pc:chgData name="Baskind, Natalya {PI}" userId="85cf178f-a36f-487c-9312-0511ee9e1eb4" providerId="ADAL" clId="{49748B71-420D-4223-8C58-578BCDD5DC5C}" dt="2020-07-13T20:15:31.372" v="3275" actId="47"/>
          <pc:sldLayoutMkLst>
            <pc:docMk/>
            <pc:sldMasterMk cId="2408177787" sldId="2147483648"/>
            <pc:sldLayoutMk cId="985722353" sldId="2147483670"/>
          </pc:sldLayoutMkLst>
        </pc:sldLayoutChg>
        <pc:sldLayoutChg chg="del">
          <pc:chgData name="Baskind, Natalya {PI}" userId="85cf178f-a36f-487c-9312-0511ee9e1eb4" providerId="ADAL" clId="{49748B71-420D-4223-8C58-578BCDD5DC5C}" dt="2020-07-13T20:15:21.954" v="3274" actId="47"/>
          <pc:sldLayoutMkLst>
            <pc:docMk/>
            <pc:sldMasterMk cId="2408177787" sldId="2147483648"/>
            <pc:sldLayoutMk cId="1474314953" sldId="2147483671"/>
          </pc:sldLayoutMkLst>
        </pc:sldLayoutChg>
        <pc:sldLayoutChg chg="del">
          <pc:chgData name="Baskind, Natalya {PI}" userId="85cf178f-a36f-487c-9312-0511ee9e1eb4" providerId="ADAL" clId="{49748B71-420D-4223-8C58-578BCDD5DC5C}" dt="2020-07-13T20:15:31.390" v="3276" actId="47"/>
          <pc:sldLayoutMkLst>
            <pc:docMk/>
            <pc:sldMasterMk cId="2408177787" sldId="2147483648"/>
            <pc:sldLayoutMk cId="572309349" sldId="2147483672"/>
          </pc:sldLayoutMkLst>
        </pc:sldLayoutChg>
        <pc:sldLayoutChg chg="del">
          <pc:chgData name="Baskind, Natalya {PI}" userId="85cf178f-a36f-487c-9312-0511ee9e1eb4" providerId="ADAL" clId="{49748B71-420D-4223-8C58-578BCDD5DC5C}" dt="2020-07-13T20:15:07.447" v="3270" actId="47"/>
          <pc:sldLayoutMkLst>
            <pc:docMk/>
            <pc:sldMasterMk cId="2408177787" sldId="2147483648"/>
            <pc:sldLayoutMk cId="1061864845" sldId="2147483675"/>
          </pc:sldLayoutMkLst>
        </pc:sldLayoutChg>
        <pc:sldLayoutChg chg="add">
          <pc:chgData name="Baskind, Natalya {PI}" userId="85cf178f-a36f-487c-9312-0511ee9e1eb4" providerId="ADAL" clId="{49748B71-420D-4223-8C58-578BCDD5DC5C}" dt="2020-07-13T19:46:37.403" v="3068" actId="22"/>
          <pc:sldLayoutMkLst>
            <pc:docMk/>
            <pc:sldMasterMk cId="2408177787" sldId="2147483648"/>
            <pc:sldLayoutMk cId="2613319907" sldId="2147483677"/>
          </pc:sldLayoutMkLst>
        </pc:sldLayoutChg>
        <pc:sldLayoutChg chg="add">
          <pc:chgData name="Baskind, Natalya {PI}" userId="85cf178f-a36f-487c-9312-0511ee9e1eb4" providerId="ADAL" clId="{49748B71-420D-4223-8C58-578BCDD5DC5C}" dt="2020-07-13T20:04:01.079" v="3158" actId="22"/>
          <pc:sldLayoutMkLst>
            <pc:docMk/>
            <pc:sldMasterMk cId="2408177787" sldId="2147483648"/>
            <pc:sldLayoutMk cId="1344766586" sldId="2147483678"/>
          </pc:sldLayoutMkLst>
        </pc:sldLayoutChg>
        <pc:sldLayoutChg chg="add">
          <pc:chgData name="Baskind, Natalya {PI}" userId="85cf178f-a36f-487c-9312-0511ee9e1eb4" providerId="ADAL" clId="{49748B71-420D-4223-8C58-578BCDD5DC5C}" dt="2020-07-13T20:08:33.640" v="3170" actId="22"/>
          <pc:sldLayoutMkLst>
            <pc:docMk/>
            <pc:sldMasterMk cId="2408177787" sldId="2147483648"/>
            <pc:sldLayoutMk cId="2378392193" sldId="2147483679"/>
          </pc:sldLayoutMkLst>
        </pc:sldLayoutChg>
      </pc:sldMasterChg>
    </pc:docChg>
  </pc:docChgLst>
  <pc:docChgLst>
    <pc:chgData name="Andreev, Valentin {PEP}" userId="a5c1d1ee-0483-49de-9c7e-1e64dd859820" providerId="ADAL" clId="{BE9A37FA-CCB5-401E-87A1-BB7A50CD72DB}"/>
    <pc:docChg chg="undo custSel addSld delSld modSld sldOrd">
      <pc:chgData name="Andreev, Valentin {PEP}" userId="a5c1d1ee-0483-49de-9c7e-1e64dd859820" providerId="ADAL" clId="{BE9A37FA-CCB5-401E-87A1-BB7A50CD72DB}" dt="2020-07-13T21:37:47.334" v="264" actId="20577"/>
      <pc:docMkLst>
        <pc:docMk/>
      </pc:docMkLst>
      <pc:sldChg chg="addSp delSp modSp mod">
        <pc:chgData name="Andreev, Valentin {PEP}" userId="a5c1d1ee-0483-49de-9c7e-1e64dd859820" providerId="ADAL" clId="{BE9A37FA-CCB5-401E-87A1-BB7A50CD72DB}" dt="2020-07-13T20:39:32.988" v="45" actId="1076"/>
        <pc:sldMkLst>
          <pc:docMk/>
          <pc:sldMk cId="620528721" sldId="269"/>
        </pc:sldMkLst>
        <pc:spChg chg="add del mod">
          <ac:chgData name="Andreev, Valentin {PEP}" userId="a5c1d1ee-0483-49de-9c7e-1e64dd859820" providerId="ADAL" clId="{BE9A37FA-CCB5-401E-87A1-BB7A50CD72DB}" dt="2020-07-13T20:38:29.614" v="40" actId="478"/>
          <ac:spMkLst>
            <pc:docMk/>
            <pc:sldMk cId="620528721" sldId="269"/>
            <ac:spMk id="2" creationId="{CAC09FA6-B373-4532-9AB3-579375D444FB}"/>
          </ac:spMkLst>
        </pc:spChg>
        <pc:spChg chg="mod">
          <ac:chgData name="Andreev, Valentin {PEP}" userId="a5c1d1ee-0483-49de-9c7e-1e64dd859820" providerId="ADAL" clId="{BE9A37FA-CCB5-401E-87A1-BB7A50CD72DB}" dt="2020-07-13T20:39:32.988" v="45" actId="1076"/>
          <ac:spMkLst>
            <pc:docMk/>
            <pc:sldMk cId="620528721" sldId="269"/>
            <ac:spMk id="36" creationId="{86F079E3-03C6-4383-9DAD-836C45B23642}"/>
          </ac:spMkLst>
        </pc:spChg>
        <pc:picChg chg="mod">
          <ac:chgData name="Andreev, Valentin {PEP}" userId="a5c1d1ee-0483-49de-9c7e-1e64dd859820" providerId="ADAL" clId="{BE9A37FA-CCB5-401E-87A1-BB7A50CD72DB}" dt="2020-07-13T20:39:01.836" v="44"/>
          <ac:picMkLst>
            <pc:docMk/>
            <pc:sldMk cId="620528721" sldId="269"/>
            <ac:picMk id="10" creationId="{B7BCDEC1-3AC6-4EB1-942C-6BCE7F3D2C3A}"/>
          </ac:picMkLst>
        </pc:picChg>
        <pc:picChg chg="mod">
          <ac:chgData name="Andreev, Valentin {PEP}" userId="a5c1d1ee-0483-49de-9c7e-1e64dd859820" providerId="ADAL" clId="{BE9A37FA-CCB5-401E-87A1-BB7A50CD72DB}" dt="2020-07-13T20:39:01.836" v="44"/>
          <ac:picMkLst>
            <pc:docMk/>
            <pc:sldMk cId="620528721" sldId="269"/>
            <ac:picMk id="12" creationId="{38D47370-6E09-4FCF-80A7-707D68518334}"/>
          </ac:picMkLst>
        </pc:picChg>
        <pc:picChg chg="mod">
          <ac:chgData name="Andreev, Valentin {PEP}" userId="a5c1d1ee-0483-49de-9c7e-1e64dd859820" providerId="ADAL" clId="{BE9A37FA-CCB5-401E-87A1-BB7A50CD72DB}" dt="2020-07-13T20:39:01.836" v="44"/>
          <ac:picMkLst>
            <pc:docMk/>
            <pc:sldMk cId="620528721" sldId="269"/>
            <ac:picMk id="15" creationId="{AAB03BC7-7C42-4847-83F5-9D40C6890E04}"/>
          </ac:picMkLst>
        </pc:picChg>
        <pc:picChg chg="mod">
          <ac:chgData name="Andreev, Valentin {PEP}" userId="a5c1d1ee-0483-49de-9c7e-1e64dd859820" providerId="ADAL" clId="{BE9A37FA-CCB5-401E-87A1-BB7A50CD72DB}" dt="2020-07-13T20:39:01.836" v="44"/>
          <ac:picMkLst>
            <pc:docMk/>
            <pc:sldMk cId="620528721" sldId="269"/>
            <ac:picMk id="16" creationId="{D49F99BC-4467-4912-80A1-B926ABA2B277}"/>
          </ac:picMkLst>
        </pc:picChg>
      </pc:sldChg>
      <pc:sldChg chg="addSp delSp modSp mod delAnim modAnim">
        <pc:chgData name="Andreev, Valentin {PEP}" userId="a5c1d1ee-0483-49de-9c7e-1e64dd859820" providerId="ADAL" clId="{BE9A37FA-CCB5-401E-87A1-BB7A50CD72DB}" dt="2020-07-13T21:31:29.058" v="201" actId="1076"/>
        <pc:sldMkLst>
          <pc:docMk/>
          <pc:sldMk cId="2269547030" sldId="274"/>
        </pc:sldMkLst>
        <pc:spChg chg="mod">
          <ac:chgData name="Andreev, Valentin {PEP}" userId="a5c1d1ee-0483-49de-9c7e-1e64dd859820" providerId="ADAL" clId="{BE9A37FA-CCB5-401E-87A1-BB7A50CD72DB}" dt="2020-07-13T21:31:29.058" v="201" actId="1076"/>
          <ac:spMkLst>
            <pc:docMk/>
            <pc:sldMk cId="2269547030" sldId="274"/>
            <ac:spMk id="8" creationId="{D8D21F2E-3A5C-4745-8EEF-5D1EACB5BF80}"/>
          </ac:spMkLst>
        </pc:spChg>
        <pc:picChg chg="add del mod">
          <ac:chgData name="Andreev, Valentin {PEP}" userId="a5c1d1ee-0483-49de-9c7e-1e64dd859820" providerId="ADAL" clId="{BE9A37FA-CCB5-401E-87A1-BB7A50CD72DB}" dt="2020-07-13T21:31:25.927" v="200" actId="478"/>
          <ac:picMkLst>
            <pc:docMk/>
            <pc:sldMk cId="2269547030" sldId="274"/>
            <ac:picMk id="6" creationId="{B8EAEEF3-0F9F-49BB-928F-36AAF794F2DE}"/>
          </ac:picMkLst>
        </pc:picChg>
      </pc:sldChg>
      <pc:sldChg chg="addSp modSp mod modShow">
        <pc:chgData name="Andreev, Valentin {PEP}" userId="a5c1d1ee-0483-49de-9c7e-1e64dd859820" providerId="ADAL" clId="{BE9A37FA-CCB5-401E-87A1-BB7A50CD72DB}" dt="2020-07-13T21:36:16.719" v="246" actId="729"/>
        <pc:sldMkLst>
          <pc:docMk/>
          <pc:sldMk cId="1502810143" sldId="1948764926"/>
        </pc:sldMkLst>
        <pc:spChg chg="mod">
          <ac:chgData name="Andreev, Valentin {PEP}" userId="a5c1d1ee-0483-49de-9c7e-1e64dd859820" providerId="ADAL" clId="{BE9A37FA-CCB5-401E-87A1-BB7A50CD72DB}" dt="2020-07-13T20:43:26.403" v="62" actId="1076"/>
          <ac:spMkLst>
            <pc:docMk/>
            <pc:sldMk cId="1502810143" sldId="1948764926"/>
            <ac:spMk id="6" creationId="{7F9005A8-44C3-43A3-B597-FBFACD41428F}"/>
          </ac:spMkLst>
        </pc:spChg>
        <pc:picChg chg="add mod">
          <ac:chgData name="Andreev, Valentin {PEP}" userId="a5c1d1ee-0483-49de-9c7e-1e64dd859820" providerId="ADAL" clId="{BE9A37FA-CCB5-401E-87A1-BB7A50CD72DB}" dt="2020-07-13T20:43:45.273" v="66" actId="571"/>
          <ac:picMkLst>
            <pc:docMk/>
            <pc:sldMk cId="1502810143" sldId="1948764926"/>
            <ac:picMk id="7" creationId="{01D491B2-F7F3-4FE8-86BD-D69D265B1E12}"/>
          </ac:picMkLst>
        </pc:picChg>
        <pc:picChg chg="mod ord modCrop">
          <ac:chgData name="Andreev, Valentin {PEP}" userId="a5c1d1ee-0483-49de-9c7e-1e64dd859820" providerId="ADAL" clId="{BE9A37FA-CCB5-401E-87A1-BB7A50CD72DB}" dt="2020-07-13T20:43:21.123" v="61" actId="1076"/>
          <ac:picMkLst>
            <pc:docMk/>
            <pc:sldMk cId="1502810143" sldId="1948764926"/>
            <ac:picMk id="40" creationId="{BB933522-132A-4213-8169-98947242522A}"/>
          </ac:picMkLst>
        </pc:picChg>
      </pc:sldChg>
      <pc:sldChg chg="modSp mod modShow">
        <pc:chgData name="Andreev, Valentin {PEP}" userId="a5c1d1ee-0483-49de-9c7e-1e64dd859820" providerId="ADAL" clId="{BE9A37FA-CCB5-401E-87A1-BB7A50CD72DB}" dt="2020-07-13T20:54:40.783" v="165" actId="729"/>
        <pc:sldMkLst>
          <pc:docMk/>
          <pc:sldMk cId="3708489921" sldId="1948764941"/>
        </pc:sldMkLst>
        <pc:picChg chg="mod">
          <ac:chgData name="Andreev, Valentin {PEP}" userId="a5c1d1ee-0483-49de-9c7e-1e64dd859820" providerId="ADAL" clId="{BE9A37FA-CCB5-401E-87A1-BB7A50CD72DB}" dt="2020-07-13T20:35:29.513" v="27" actId="1076"/>
          <ac:picMkLst>
            <pc:docMk/>
            <pc:sldMk cId="3708489921" sldId="1948764941"/>
            <ac:picMk id="8" creationId="{853DAB5D-30FC-449F-9230-74F41BEE8994}"/>
          </ac:picMkLst>
        </pc:picChg>
      </pc:sldChg>
      <pc:sldChg chg="modSp mod">
        <pc:chgData name="Andreev, Valentin {PEP}" userId="a5c1d1ee-0483-49de-9c7e-1e64dd859820" providerId="ADAL" clId="{BE9A37FA-CCB5-401E-87A1-BB7A50CD72DB}" dt="2020-07-13T20:42:20.882" v="49" actId="14100"/>
        <pc:sldMkLst>
          <pc:docMk/>
          <pc:sldMk cId="3581452208" sldId="1948764943"/>
        </pc:sldMkLst>
        <pc:spChg chg="mod">
          <ac:chgData name="Andreev, Valentin {PEP}" userId="a5c1d1ee-0483-49de-9c7e-1e64dd859820" providerId="ADAL" clId="{BE9A37FA-CCB5-401E-87A1-BB7A50CD72DB}" dt="2020-07-13T20:42:20.882" v="49" actId="14100"/>
          <ac:spMkLst>
            <pc:docMk/>
            <pc:sldMk cId="3581452208" sldId="1948764943"/>
            <ac:spMk id="16" creationId="{2AB5AB42-9BE9-3545-A306-E7D7C472647B}"/>
          </ac:spMkLst>
        </pc:spChg>
        <pc:spChg chg="mod">
          <ac:chgData name="Andreev, Valentin {PEP}" userId="a5c1d1ee-0483-49de-9c7e-1e64dd859820" providerId="ADAL" clId="{BE9A37FA-CCB5-401E-87A1-BB7A50CD72DB}" dt="2020-07-13T20:41:58.023" v="48" actId="403"/>
          <ac:spMkLst>
            <pc:docMk/>
            <pc:sldMk cId="3581452208" sldId="1948764943"/>
            <ac:spMk id="17" creationId="{DCB26530-10DE-7D47-BB38-9B8275192F6F}"/>
          </ac:spMkLst>
        </pc:spChg>
        <pc:spChg chg="mod">
          <ac:chgData name="Andreev, Valentin {PEP}" userId="a5c1d1ee-0483-49de-9c7e-1e64dd859820" providerId="ADAL" clId="{BE9A37FA-CCB5-401E-87A1-BB7A50CD72DB}" dt="2020-07-13T20:42:20.882" v="49" actId="14100"/>
          <ac:spMkLst>
            <pc:docMk/>
            <pc:sldMk cId="3581452208" sldId="1948764943"/>
            <ac:spMk id="18" creationId="{0A2FC93F-BB13-5644-89AC-4150C4EB5357}"/>
          </ac:spMkLst>
        </pc:spChg>
        <pc:spChg chg="mod">
          <ac:chgData name="Andreev, Valentin {PEP}" userId="a5c1d1ee-0483-49de-9c7e-1e64dd859820" providerId="ADAL" clId="{BE9A37FA-CCB5-401E-87A1-BB7A50CD72DB}" dt="2020-07-13T20:42:20.882" v="49" actId="14100"/>
          <ac:spMkLst>
            <pc:docMk/>
            <pc:sldMk cId="3581452208" sldId="1948764943"/>
            <ac:spMk id="19" creationId="{FAB807DC-50D8-4B4F-937C-4B2E627F5196}"/>
          </ac:spMkLst>
        </pc:spChg>
      </pc:sldChg>
      <pc:sldChg chg="addSp delSp modSp mod modAnim">
        <pc:chgData name="Andreev, Valentin {PEP}" userId="a5c1d1ee-0483-49de-9c7e-1e64dd859820" providerId="ADAL" clId="{BE9A37FA-CCB5-401E-87A1-BB7A50CD72DB}" dt="2020-07-13T21:37:07.966" v="257" actId="478"/>
        <pc:sldMkLst>
          <pc:docMk/>
          <pc:sldMk cId="4078796681" sldId="1948764944"/>
        </pc:sldMkLst>
        <pc:spChg chg="del mod">
          <ac:chgData name="Andreev, Valentin {PEP}" userId="a5c1d1ee-0483-49de-9c7e-1e64dd859820" providerId="ADAL" clId="{BE9A37FA-CCB5-401E-87A1-BB7A50CD72DB}" dt="2020-07-13T21:37:07.966" v="257" actId="478"/>
          <ac:spMkLst>
            <pc:docMk/>
            <pc:sldMk cId="4078796681" sldId="1948764944"/>
            <ac:spMk id="3" creationId="{8D0FBC02-ED52-4594-BA73-9F7D30A07A18}"/>
          </ac:spMkLst>
        </pc:spChg>
        <pc:spChg chg="mod">
          <ac:chgData name="Andreev, Valentin {PEP}" userId="a5c1d1ee-0483-49de-9c7e-1e64dd859820" providerId="ADAL" clId="{BE9A37FA-CCB5-401E-87A1-BB7A50CD72DB}" dt="2020-07-13T21:36:45.146" v="250" actId="21"/>
          <ac:spMkLst>
            <pc:docMk/>
            <pc:sldMk cId="4078796681" sldId="1948764944"/>
            <ac:spMk id="5" creationId="{E75ADC87-2BD1-462F-8BFA-0521E66F10AD}"/>
          </ac:spMkLst>
        </pc:spChg>
        <pc:spChg chg="add mod">
          <ac:chgData name="Andreev, Valentin {PEP}" userId="a5c1d1ee-0483-49de-9c7e-1e64dd859820" providerId="ADAL" clId="{BE9A37FA-CCB5-401E-87A1-BB7A50CD72DB}" dt="2020-07-13T21:37:01.441" v="255" actId="1076"/>
          <ac:spMkLst>
            <pc:docMk/>
            <pc:sldMk cId="4078796681" sldId="1948764944"/>
            <ac:spMk id="6" creationId="{20575177-6FF8-41B4-BAF5-08163E3AD59B}"/>
          </ac:spMkLst>
        </pc:spChg>
      </pc:sldChg>
      <pc:sldChg chg="modSp mod modAnim">
        <pc:chgData name="Andreev, Valentin {PEP}" userId="a5c1d1ee-0483-49de-9c7e-1e64dd859820" providerId="ADAL" clId="{BE9A37FA-CCB5-401E-87A1-BB7A50CD72DB}" dt="2020-07-13T20:25:37.904" v="14"/>
        <pc:sldMkLst>
          <pc:docMk/>
          <pc:sldMk cId="165076078" sldId="1948764945"/>
        </pc:sldMkLst>
        <pc:spChg chg="mod">
          <ac:chgData name="Andreev, Valentin {PEP}" userId="a5c1d1ee-0483-49de-9c7e-1e64dd859820" providerId="ADAL" clId="{BE9A37FA-CCB5-401E-87A1-BB7A50CD72DB}" dt="2020-07-13T20:24:48.470" v="12" actId="14100"/>
          <ac:spMkLst>
            <pc:docMk/>
            <pc:sldMk cId="165076078" sldId="1948764945"/>
            <ac:spMk id="5" creationId="{E75ADC87-2BD1-462F-8BFA-0521E66F10AD}"/>
          </ac:spMkLst>
        </pc:spChg>
      </pc:sldChg>
      <pc:sldChg chg="modSp mod">
        <pc:chgData name="Andreev, Valentin {PEP}" userId="a5c1d1ee-0483-49de-9c7e-1e64dd859820" providerId="ADAL" clId="{BE9A37FA-CCB5-401E-87A1-BB7A50CD72DB}" dt="2020-07-13T20:55:29.670" v="186" actId="1076"/>
        <pc:sldMkLst>
          <pc:docMk/>
          <pc:sldMk cId="4002389244" sldId="1948764946"/>
        </pc:sldMkLst>
        <pc:spChg chg="mod">
          <ac:chgData name="Andreev, Valentin {PEP}" userId="a5c1d1ee-0483-49de-9c7e-1e64dd859820" providerId="ADAL" clId="{BE9A37FA-CCB5-401E-87A1-BB7A50CD72DB}" dt="2020-07-13T20:55:23.897" v="185" actId="1076"/>
          <ac:spMkLst>
            <pc:docMk/>
            <pc:sldMk cId="4002389244" sldId="1948764946"/>
            <ac:spMk id="5" creationId="{D1AED7D5-87B4-4DD4-9582-1D3BFE7C167C}"/>
          </ac:spMkLst>
        </pc:spChg>
        <pc:spChg chg="mod">
          <ac:chgData name="Andreev, Valentin {PEP}" userId="a5c1d1ee-0483-49de-9c7e-1e64dd859820" providerId="ADAL" clId="{BE9A37FA-CCB5-401E-87A1-BB7A50CD72DB}" dt="2020-07-13T20:55:29.670" v="186" actId="1076"/>
          <ac:spMkLst>
            <pc:docMk/>
            <pc:sldMk cId="4002389244" sldId="1948764946"/>
            <ac:spMk id="7" creationId="{AF8C3078-C9F0-400C-B902-D0A0DAF7555E}"/>
          </ac:spMkLst>
        </pc:spChg>
      </pc:sldChg>
      <pc:sldChg chg="addSp delSp modSp mod addAnim delAnim">
        <pc:chgData name="Andreev, Valentin {PEP}" userId="a5c1d1ee-0483-49de-9c7e-1e64dd859820" providerId="ADAL" clId="{BE9A37FA-CCB5-401E-87A1-BB7A50CD72DB}" dt="2020-07-13T21:31:23.066" v="199" actId="478"/>
        <pc:sldMkLst>
          <pc:docMk/>
          <pc:sldMk cId="2132211201" sldId="1948764950"/>
        </pc:sldMkLst>
        <pc:spChg chg="add del mod">
          <ac:chgData name="Andreev, Valentin {PEP}" userId="a5c1d1ee-0483-49de-9c7e-1e64dd859820" providerId="ADAL" clId="{BE9A37FA-CCB5-401E-87A1-BB7A50CD72DB}" dt="2020-07-13T21:31:16.276" v="197" actId="478"/>
          <ac:spMkLst>
            <pc:docMk/>
            <pc:sldMk cId="2132211201" sldId="1948764950"/>
            <ac:spMk id="2" creationId="{55A726BC-9A47-4EAC-B95E-55D6D3C99C8F}"/>
          </ac:spMkLst>
        </pc:spChg>
        <pc:spChg chg="add del mod">
          <ac:chgData name="Andreev, Valentin {PEP}" userId="a5c1d1ee-0483-49de-9c7e-1e64dd859820" providerId="ADAL" clId="{BE9A37FA-CCB5-401E-87A1-BB7A50CD72DB}" dt="2020-07-13T21:31:16.276" v="197" actId="478"/>
          <ac:spMkLst>
            <pc:docMk/>
            <pc:sldMk cId="2132211201" sldId="1948764950"/>
            <ac:spMk id="9" creationId="{19B7AA54-077D-4E69-AACE-E77AA83A0E58}"/>
          </ac:spMkLst>
        </pc:spChg>
        <pc:spChg chg="mod">
          <ac:chgData name="Andreev, Valentin {PEP}" userId="a5c1d1ee-0483-49de-9c7e-1e64dd859820" providerId="ADAL" clId="{BE9A37FA-CCB5-401E-87A1-BB7A50CD72DB}" dt="2020-07-13T20:56:02.516" v="189"/>
          <ac:spMkLst>
            <pc:docMk/>
            <pc:sldMk cId="2132211201" sldId="1948764950"/>
            <ac:spMk id="11" creationId="{7EF35FE0-E645-42BC-BD0D-7E714D8BEC58}"/>
          </ac:spMkLst>
        </pc:spChg>
        <pc:picChg chg="add del">
          <ac:chgData name="Andreev, Valentin {PEP}" userId="a5c1d1ee-0483-49de-9c7e-1e64dd859820" providerId="ADAL" clId="{BE9A37FA-CCB5-401E-87A1-BB7A50CD72DB}" dt="2020-07-13T21:31:23.066" v="199" actId="478"/>
          <ac:picMkLst>
            <pc:docMk/>
            <pc:sldMk cId="2132211201" sldId="1948764950"/>
            <ac:picMk id="4" creationId="{67B8019C-5EB0-46CA-BB3E-76A088AE0A62}"/>
          </ac:picMkLst>
        </pc:picChg>
      </pc:sldChg>
      <pc:sldChg chg="addSp delSp modSp mod">
        <pc:chgData name="Andreev, Valentin {PEP}" userId="a5c1d1ee-0483-49de-9c7e-1e64dd859820" providerId="ADAL" clId="{BE9A37FA-CCB5-401E-87A1-BB7A50CD72DB}" dt="2020-07-13T21:34:00.921" v="224" actId="478"/>
        <pc:sldMkLst>
          <pc:docMk/>
          <pc:sldMk cId="58344863" sldId="1948764954"/>
        </pc:sldMkLst>
        <pc:spChg chg="del mod">
          <ac:chgData name="Andreev, Valentin {PEP}" userId="a5c1d1ee-0483-49de-9c7e-1e64dd859820" providerId="ADAL" clId="{BE9A37FA-CCB5-401E-87A1-BB7A50CD72DB}" dt="2020-07-13T21:34:00.921" v="224" actId="478"/>
          <ac:spMkLst>
            <pc:docMk/>
            <pc:sldMk cId="58344863" sldId="1948764954"/>
            <ac:spMk id="9" creationId="{A7940C5D-6B63-4F40-AE0A-7E5B93EC71C8}"/>
          </ac:spMkLst>
        </pc:spChg>
        <pc:picChg chg="mod">
          <ac:chgData name="Andreev, Valentin {PEP}" userId="a5c1d1ee-0483-49de-9c7e-1e64dd859820" providerId="ADAL" clId="{BE9A37FA-CCB5-401E-87A1-BB7A50CD72DB}" dt="2020-07-13T21:33:02.994" v="211" actId="1076"/>
          <ac:picMkLst>
            <pc:docMk/>
            <pc:sldMk cId="58344863" sldId="1948764954"/>
            <ac:picMk id="2" creationId="{A56BEBE7-7F24-40C1-8D95-D590A222171C}"/>
          </ac:picMkLst>
        </pc:picChg>
        <pc:picChg chg="del">
          <ac:chgData name="Andreev, Valentin {PEP}" userId="a5c1d1ee-0483-49de-9c7e-1e64dd859820" providerId="ADAL" clId="{BE9A37FA-CCB5-401E-87A1-BB7A50CD72DB}" dt="2020-07-13T21:32:09.405" v="202" actId="478"/>
          <ac:picMkLst>
            <pc:docMk/>
            <pc:sldMk cId="58344863" sldId="1948764954"/>
            <ac:picMk id="3" creationId="{C8B28E75-B41F-4F5B-9657-8048132F7919}"/>
          </ac:picMkLst>
        </pc:picChg>
        <pc:picChg chg="mod">
          <ac:chgData name="Andreev, Valentin {PEP}" userId="a5c1d1ee-0483-49de-9c7e-1e64dd859820" providerId="ADAL" clId="{BE9A37FA-CCB5-401E-87A1-BB7A50CD72DB}" dt="2020-07-13T21:33:22.627" v="217" actId="14100"/>
          <ac:picMkLst>
            <pc:docMk/>
            <pc:sldMk cId="58344863" sldId="1948764954"/>
            <ac:picMk id="6" creationId="{59BD283E-BD32-4C30-AB51-5E972F4B19B1}"/>
          </ac:picMkLst>
        </pc:picChg>
        <pc:picChg chg="del">
          <ac:chgData name="Andreev, Valentin {PEP}" userId="a5c1d1ee-0483-49de-9c7e-1e64dd859820" providerId="ADAL" clId="{BE9A37FA-CCB5-401E-87A1-BB7A50CD72DB}" dt="2020-07-13T21:32:36.729" v="204" actId="478"/>
          <ac:picMkLst>
            <pc:docMk/>
            <pc:sldMk cId="58344863" sldId="1948764954"/>
            <ac:picMk id="7" creationId="{D4B54AA2-34B6-4DF0-8702-36BABCE64CD9}"/>
          </ac:picMkLst>
        </pc:picChg>
        <pc:picChg chg="add mod">
          <ac:chgData name="Andreev, Valentin {PEP}" userId="a5c1d1ee-0483-49de-9c7e-1e64dd859820" providerId="ADAL" clId="{BE9A37FA-CCB5-401E-87A1-BB7A50CD72DB}" dt="2020-07-13T21:33:53.467" v="223" actId="14100"/>
          <ac:picMkLst>
            <pc:docMk/>
            <pc:sldMk cId="58344863" sldId="1948764954"/>
            <ac:picMk id="10" creationId="{C23BDEA1-2945-48B0-AE1F-182261C9357E}"/>
          </ac:picMkLst>
        </pc:picChg>
        <pc:picChg chg="mod">
          <ac:chgData name="Andreev, Valentin {PEP}" userId="a5c1d1ee-0483-49de-9c7e-1e64dd859820" providerId="ADAL" clId="{BE9A37FA-CCB5-401E-87A1-BB7A50CD72DB}" dt="2020-07-13T21:33:27.295" v="218" actId="1076"/>
          <ac:picMkLst>
            <pc:docMk/>
            <pc:sldMk cId="58344863" sldId="1948764954"/>
            <ac:picMk id="11" creationId="{F64BA61F-54E4-4BE6-ADEC-FA18401CE29A}"/>
          </ac:picMkLst>
        </pc:picChg>
      </pc:sldChg>
      <pc:sldChg chg="modSp del mod">
        <pc:chgData name="Andreev, Valentin {PEP}" userId="a5c1d1ee-0483-49de-9c7e-1e64dd859820" providerId="ADAL" clId="{BE9A37FA-CCB5-401E-87A1-BB7A50CD72DB}" dt="2020-07-13T21:34:13.749" v="225" actId="47"/>
        <pc:sldMkLst>
          <pc:docMk/>
          <pc:sldMk cId="469605512" sldId="1948764955"/>
        </pc:sldMkLst>
        <pc:picChg chg="mod">
          <ac:chgData name="Andreev, Valentin {PEP}" userId="a5c1d1ee-0483-49de-9c7e-1e64dd859820" providerId="ADAL" clId="{BE9A37FA-CCB5-401E-87A1-BB7A50CD72DB}" dt="2020-07-13T21:33:32.912" v="220" actId="1076"/>
          <ac:picMkLst>
            <pc:docMk/>
            <pc:sldMk cId="469605512" sldId="1948764955"/>
            <ac:picMk id="84" creationId="{00000000-0000-0000-0000-000000000000}"/>
          </ac:picMkLst>
        </pc:picChg>
      </pc:sldChg>
      <pc:sldChg chg="del">
        <pc:chgData name="Andreev, Valentin {PEP}" userId="a5c1d1ee-0483-49de-9c7e-1e64dd859820" providerId="ADAL" clId="{BE9A37FA-CCB5-401E-87A1-BB7A50CD72DB}" dt="2020-07-13T21:34:13.749" v="225" actId="47"/>
        <pc:sldMkLst>
          <pc:docMk/>
          <pc:sldMk cId="2511891395" sldId="1948764956"/>
        </pc:sldMkLst>
      </pc:sldChg>
      <pc:sldChg chg="modSp mod">
        <pc:chgData name="Andreev, Valentin {PEP}" userId="a5c1d1ee-0483-49de-9c7e-1e64dd859820" providerId="ADAL" clId="{BE9A37FA-CCB5-401E-87A1-BB7A50CD72DB}" dt="2020-07-13T21:34:50.601" v="238" actId="1076"/>
        <pc:sldMkLst>
          <pc:docMk/>
          <pc:sldMk cId="2699378511" sldId="1948764961"/>
        </pc:sldMkLst>
        <pc:spChg chg="mod">
          <ac:chgData name="Andreev, Valentin {PEP}" userId="a5c1d1ee-0483-49de-9c7e-1e64dd859820" providerId="ADAL" clId="{BE9A37FA-CCB5-401E-87A1-BB7A50CD72DB}" dt="2020-07-13T21:34:50.601" v="238" actId="1076"/>
          <ac:spMkLst>
            <pc:docMk/>
            <pc:sldMk cId="2699378511" sldId="1948764961"/>
            <ac:spMk id="5" creationId="{9CD29FAF-677D-489F-9358-2D26AD67A8B3}"/>
          </ac:spMkLst>
        </pc:spChg>
      </pc:sldChg>
      <pc:sldChg chg="modSp mod">
        <pc:chgData name="Andreev, Valentin {PEP}" userId="a5c1d1ee-0483-49de-9c7e-1e64dd859820" providerId="ADAL" clId="{BE9A37FA-CCB5-401E-87A1-BB7A50CD72DB}" dt="2020-07-13T21:34:57.543" v="241" actId="1035"/>
        <pc:sldMkLst>
          <pc:docMk/>
          <pc:sldMk cId="3352058564" sldId="1948764962"/>
        </pc:sldMkLst>
        <pc:spChg chg="mod">
          <ac:chgData name="Andreev, Valentin {PEP}" userId="a5c1d1ee-0483-49de-9c7e-1e64dd859820" providerId="ADAL" clId="{BE9A37FA-CCB5-401E-87A1-BB7A50CD72DB}" dt="2020-07-13T21:34:57.543" v="241" actId="1035"/>
          <ac:spMkLst>
            <pc:docMk/>
            <pc:sldMk cId="3352058564" sldId="1948764962"/>
            <ac:spMk id="5" creationId="{5C1965AA-6439-44D9-9A26-56042D4CB5EA}"/>
          </ac:spMkLst>
        </pc:spChg>
      </pc:sldChg>
      <pc:sldChg chg="modSp mod">
        <pc:chgData name="Andreev, Valentin {PEP}" userId="a5c1d1ee-0483-49de-9c7e-1e64dd859820" providerId="ADAL" clId="{BE9A37FA-CCB5-401E-87A1-BB7A50CD72DB}" dt="2020-07-13T21:35:08.995" v="245" actId="1076"/>
        <pc:sldMkLst>
          <pc:docMk/>
          <pc:sldMk cId="289455897" sldId="1948764963"/>
        </pc:sldMkLst>
        <pc:spChg chg="mod">
          <ac:chgData name="Andreev, Valentin {PEP}" userId="a5c1d1ee-0483-49de-9c7e-1e64dd859820" providerId="ADAL" clId="{BE9A37FA-CCB5-401E-87A1-BB7A50CD72DB}" dt="2020-07-13T21:35:08.995" v="245" actId="1076"/>
          <ac:spMkLst>
            <pc:docMk/>
            <pc:sldMk cId="289455897" sldId="1948764963"/>
            <ac:spMk id="4" creationId="{6D23192D-3318-4BF4-8278-EDF65E060A13}"/>
          </ac:spMkLst>
        </pc:spChg>
      </pc:sldChg>
      <pc:sldChg chg="modSp add del modAnim">
        <pc:chgData name="Andreev, Valentin {PEP}" userId="a5c1d1ee-0483-49de-9c7e-1e64dd859820" providerId="ADAL" clId="{BE9A37FA-CCB5-401E-87A1-BB7A50CD72DB}" dt="2020-07-13T20:26:14.800" v="25" actId="47"/>
        <pc:sldMkLst>
          <pc:docMk/>
          <pc:sldMk cId="2712307472" sldId="1948764967"/>
        </pc:sldMkLst>
        <pc:spChg chg="mod">
          <ac:chgData name="Andreev, Valentin {PEP}" userId="a5c1d1ee-0483-49de-9c7e-1e64dd859820" providerId="ADAL" clId="{BE9A37FA-CCB5-401E-87A1-BB7A50CD72DB}" dt="2020-07-13T20:26:09.081" v="23" actId="6549"/>
          <ac:spMkLst>
            <pc:docMk/>
            <pc:sldMk cId="2712307472" sldId="1948764967"/>
            <ac:spMk id="5" creationId="{E75ADC87-2BD1-462F-8BFA-0521E66F10AD}"/>
          </ac:spMkLst>
        </pc:spChg>
      </pc:sldChg>
      <pc:sldChg chg="modSp add mod modShow">
        <pc:chgData name="Andreev, Valentin {PEP}" userId="a5c1d1ee-0483-49de-9c7e-1e64dd859820" providerId="ADAL" clId="{BE9A37FA-CCB5-401E-87A1-BB7A50CD72DB}" dt="2020-07-13T20:54:40.783" v="165" actId="729"/>
        <pc:sldMkLst>
          <pc:docMk/>
          <pc:sldMk cId="690320563" sldId="1948764969"/>
        </pc:sldMkLst>
        <pc:picChg chg="mod">
          <ac:chgData name="Andreev, Valentin {PEP}" userId="a5c1d1ee-0483-49de-9c7e-1e64dd859820" providerId="ADAL" clId="{BE9A37FA-CCB5-401E-87A1-BB7A50CD72DB}" dt="2020-07-13T20:43:01.233" v="54" actId="1076"/>
          <ac:picMkLst>
            <pc:docMk/>
            <pc:sldMk cId="690320563" sldId="1948764969"/>
            <ac:picMk id="40" creationId="{BB933522-132A-4213-8169-98947242522A}"/>
          </ac:picMkLst>
        </pc:picChg>
      </pc:sldChg>
      <pc:sldChg chg="addSp delSp modSp add mod">
        <pc:chgData name="Andreev, Valentin {PEP}" userId="a5c1d1ee-0483-49de-9c7e-1e64dd859820" providerId="ADAL" clId="{BE9A37FA-CCB5-401E-87A1-BB7A50CD72DB}" dt="2020-07-13T21:37:47.334" v="264" actId="20577"/>
        <pc:sldMkLst>
          <pc:docMk/>
          <pc:sldMk cId="2566636520" sldId="1948764970"/>
        </pc:sldMkLst>
        <pc:spChg chg="del">
          <ac:chgData name="Andreev, Valentin {PEP}" userId="a5c1d1ee-0483-49de-9c7e-1e64dd859820" providerId="ADAL" clId="{BE9A37FA-CCB5-401E-87A1-BB7A50CD72DB}" dt="2020-07-13T20:43:39.597" v="64" actId="478"/>
          <ac:spMkLst>
            <pc:docMk/>
            <pc:sldMk cId="2566636520" sldId="1948764970"/>
            <ac:spMk id="3" creationId="{8D0FBC02-ED52-4594-BA73-9F7D30A07A18}"/>
          </ac:spMkLst>
        </pc:spChg>
        <pc:spChg chg="add del mod">
          <ac:chgData name="Andreev, Valentin {PEP}" userId="a5c1d1ee-0483-49de-9c7e-1e64dd859820" providerId="ADAL" clId="{BE9A37FA-CCB5-401E-87A1-BB7A50CD72DB}" dt="2020-07-13T20:43:43.116" v="65" actId="478"/>
          <ac:spMkLst>
            <pc:docMk/>
            <pc:sldMk cId="2566636520" sldId="1948764970"/>
            <ac:spMk id="4" creationId="{E5B71CCA-42E2-4817-877A-B61B866D3FAE}"/>
          </ac:spMkLst>
        </pc:spChg>
        <pc:spChg chg="del">
          <ac:chgData name="Andreev, Valentin {PEP}" userId="a5c1d1ee-0483-49de-9c7e-1e64dd859820" providerId="ADAL" clId="{BE9A37FA-CCB5-401E-87A1-BB7A50CD72DB}" dt="2020-07-13T20:43:39.597" v="64" actId="478"/>
          <ac:spMkLst>
            <pc:docMk/>
            <pc:sldMk cId="2566636520" sldId="1948764970"/>
            <ac:spMk id="5" creationId="{E75ADC87-2BD1-462F-8BFA-0521E66F10AD}"/>
          </ac:spMkLst>
        </pc:spChg>
        <pc:spChg chg="add del mod">
          <ac:chgData name="Andreev, Valentin {PEP}" userId="a5c1d1ee-0483-49de-9c7e-1e64dd859820" providerId="ADAL" clId="{BE9A37FA-CCB5-401E-87A1-BB7A50CD72DB}" dt="2020-07-13T20:45:05.688" v="83"/>
          <ac:spMkLst>
            <pc:docMk/>
            <pc:sldMk cId="2566636520" sldId="1948764970"/>
            <ac:spMk id="7" creationId="{88666CC6-864C-4991-A397-DF0C349CC7C8}"/>
          </ac:spMkLst>
        </pc:spChg>
        <pc:spChg chg="add del mod">
          <ac:chgData name="Andreev, Valentin {PEP}" userId="a5c1d1ee-0483-49de-9c7e-1e64dd859820" providerId="ADAL" clId="{BE9A37FA-CCB5-401E-87A1-BB7A50CD72DB}" dt="2020-07-13T20:46:11.001" v="90" actId="478"/>
          <ac:spMkLst>
            <pc:docMk/>
            <pc:sldMk cId="2566636520" sldId="1948764970"/>
            <ac:spMk id="8" creationId="{CD792820-841B-40D9-97CA-555AFC1BB952}"/>
          </ac:spMkLst>
        </pc:spChg>
        <pc:spChg chg="add mod">
          <ac:chgData name="Andreev, Valentin {PEP}" userId="a5c1d1ee-0483-49de-9c7e-1e64dd859820" providerId="ADAL" clId="{BE9A37FA-CCB5-401E-87A1-BB7A50CD72DB}" dt="2020-07-13T20:51:38.948" v="98" actId="207"/>
          <ac:spMkLst>
            <pc:docMk/>
            <pc:sldMk cId="2566636520" sldId="1948764970"/>
            <ac:spMk id="10" creationId="{0E154A05-7895-41B4-A68F-CD85F09386E3}"/>
          </ac:spMkLst>
        </pc:spChg>
        <pc:spChg chg="add mod ord">
          <ac:chgData name="Andreev, Valentin {PEP}" userId="a5c1d1ee-0483-49de-9c7e-1e64dd859820" providerId="ADAL" clId="{BE9A37FA-CCB5-401E-87A1-BB7A50CD72DB}" dt="2020-07-13T20:52:01.439" v="104" actId="14100"/>
          <ac:spMkLst>
            <pc:docMk/>
            <pc:sldMk cId="2566636520" sldId="1948764970"/>
            <ac:spMk id="11" creationId="{4EA54997-E96A-4275-9378-039056A45D33}"/>
          </ac:spMkLst>
        </pc:spChg>
        <pc:spChg chg="add mod">
          <ac:chgData name="Andreev, Valentin {PEP}" userId="a5c1d1ee-0483-49de-9c7e-1e64dd859820" providerId="ADAL" clId="{BE9A37FA-CCB5-401E-87A1-BB7A50CD72DB}" dt="2020-07-13T21:37:47.334" v="264" actId="20577"/>
          <ac:spMkLst>
            <pc:docMk/>
            <pc:sldMk cId="2566636520" sldId="1948764970"/>
            <ac:spMk id="13" creationId="{F359CCDB-081D-4421-8552-310BD8D6B8E2}"/>
          </ac:spMkLst>
        </pc:spChg>
        <pc:picChg chg="add mod modCrop">
          <ac:chgData name="Andreev, Valentin {PEP}" userId="a5c1d1ee-0483-49de-9c7e-1e64dd859820" providerId="ADAL" clId="{BE9A37FA-CCB5-401E-87A1-BB7A50CD72DB}" dt="2020-07-13T20:44:52.912" v="79" actId="1076"/>
          <ac:picMkLst>
            <pc:docMk/>
            <pc:sldMk cId="2566636520" sldId="1948764970"/>
            <ac:picMk id="6" creationId="{98458248-B478-4413-9959-8617027DCF19}"/>
          </ac:picMkLst>
        </pc:picChg>
      </pc:sldChg>
      <pc:sldChg chg="addSp delSp modSp add mod ord">
        <pc:chgData name="Andreev, Valentin {PEP}" userId="a5c1d1ee-0483-49de-9c7e-1e64dd859820" providerId="ADAL" clId="{BE9A37FA-CCB5-401E-87A1-BB7A50CD72DB}" dt="2020-07-13T20:54:17.066" v="164" actId="1076"/>
        <pc:sldMkLst>
          <pc:docMk/>
          <pc:sldMk cId="2703508580" sldId="1948764971"/>
        </pc:sldMkLst>
        <pc:spChg chg="mod">
          <ac:chgData name="Andreev, Valentin {PEP}" userId="a5c1d1ee-0483-49de-9c7e-1e64dd859820" providerId="ADAL" clId="{BE9A37FA-CCB5-401E-87A1-BB7A50CD72DB}" dt="2020-07-13T20:53:05.001" v="148" actId="20577"/>
          <ac:spMkLst>
            <pc:docMk/>
            <pc:sldMk cId="2703508580" sldId="1948764971"/>
            <ac:spMk id="13" creationId="{F359CCDB-081D-4421-8552-310BD8D6B8E2}"/>
          </ac:spMkLst>
        </pc:spChg>
        <pc:picChg chg="del">
          <ac:chgData name="Andreev, Valentin {PEP}" userId="a5c1d1ee-0483-49de-9c7e-1e64dd859820" providerId="ADAL" clId="{BE9A37FA-CCB5-401E-87A1-BB7A50CD72DB}" dt="2020-07-13T20:53:07.858" v="149" actId="478"/>
          <ac:picMkLst>
            <pc:docMk/>
            <pc:sldMk cId="2703508580" sldId="1948764971"/>
            <ac:picMk id="6" creationId="{98458248-B478-4413-9959-8617027DCF19}"/>
          </ac:picMkLst>
        </pc:picChg>
        <pc:picChg chg="add mod modCrop">
          <ac:chgData name="Andreev, Valentin {PEP}" userId="a5c1d1ee-0483-49de-9c7e-1e64dd859820" providerId="ADAL" clId="{BE9A37FA-CCB5-401E-87A1-BB7A50CD72DB}" dt="2020-07-13T20:54:07.577" v="161" actId="1076"/>
          <ac:picMkLst>
            <pc:docMk/>
            <pc:sldMk cId="2703508580" sldId="1948764971"/>
            <ac:picMk id="7" creationId="{B7DDD1C3-97D5-4D24-979B-354783A374AE}"/>
          </ac:picMkLst>
        </pc:picChg>
        <pc:picChg chg="add mod">
          <ac:chgData name="Andreev, Valentin {PEP}" userId="a5c1d1ee-0483-49de-9c7e-1e64dd859820" providerId="ADAL" clId="{BE9A37FA-CCB5-401E-87A1-BB7A50CD72DB}" dt="2020-07-13T20:54:17.066" v="164" actId="1076"/>
          <ac:picMkLst>
            <pc:docMk/>
            <pc:sldMk cId="2703508580" sldId="1948764971"/>
            <ac:picMk id="8" creationId="{C3085796-37A5-4BA4-9F10-A1201623D5D3}"/>
          </ac:picMkLst>
        </pc:picChg>
      </pc:sldChg>
    </pc:docChg>
  </pc:docChgLst>
  <pc:docChgLst>
    <pc:chgData name="Baskind, Natalya {PI}" userId="85cf178f-a36f-487c-9312-0511ee9e1eb4" providerId="ADAL" clId="{8B56A6FC-2257-46CB-86F6-AA2F3965E34B}"/>
    <pc:docChg chg="custSel delSld modSld sldOrd">
      <pc:chgData name="Baskind, Natalya {PI}" userId="85cf178f-a36f-487c-9312-0511ee9e1eb4" providerId="ADAL" clId="{8B56A6FC-2257-46CB-86F6-AA2F3965E34B}" dt="2020-07-14T09:46:31.092" v="40" actId="1076"/>
      <pc:docMkLst>
        <pc:docMk/>
      </pc:docMkLst>
      <pc:sldChg chg="modSp mod modShow">
        <pc:chgData name="Baskind, Natalya {PI}" userId="85cf178f-a36f-487c-9312-0511ee9e1eb4" providerId="ADAL" clId="{8B56A6FC-2257-46CB-86F6-AA2F3965E34B}" dt="2020-07-14T08:06:30.008" v="10" actId="729"/>
        <pc:sldMkLst>
          <pc:docMk/>
          <pc:sldMk cId="1502810143" sldId="1948764926"/>
        </pc:sldMkLst>
        <pc:picChg chg="mod">
          <ac:chgData name="Baskind, Natalya {PI}" userId="85cf178f-a36f-487c-9312-0511ee9e1eb4" providerId="ADAL" clId="{8B56A6FC-2257-46CB-86F6-AA2F3965E34B}" dt="2020-07-14T08:05:55.583" v="6" actId="14100"/>
          <ac:picMkLst>
            <pc:docMk/>
            <pc:sldMk cId="1502810143" sldId="1948764926"/>
            <ac:picMk id="7" creationId="{01D491B2-F7F3-4FE8-86BD-D69D265B1E12}"/>
          </ac:picMkLst>
        </pc:picChg>
      </pc:sldChg>
      <pc:sldChg chg="modSp mod ord modShow">
        <pc:chgData name="Baskind, Natalya {PI}" userId="85cf178f-a36f-487c-9312-0511ee9e1eb4" providerId="ADAL" clId="{8B56A6FC-2257-46CB-86F6-AA2F3965E34B}" dt="2020-07-14T09:40:02.991" v="39" actId="1036"/>
        <pc:sldMkLst>
          <pc:docMk/>
          <pc:sldMk cId="3708489921" sldId="1948764941"/>
        </pc:sldMkLst>
        <pc:spChg chg="mod">
          <ac:chgData name="Baskind, Natalya {PI}" userId="85cf178f-a36f-487c-9312-0511ee9e1eb4" providerId="ADAL" clId="{8B56A6FC-2257-46CB-86F6-AA2F3965E34B}" dt="2020-07-14T09:39:20.920" v="37" actId="20577"/>
          <ac:spMkLst>
            <pc:docMk/>
            <pc:sldMk cId="3708489921" sldId="1948764941"/>
            <ac:spMk id="6" creationId="{7F9005A8-44C3-43A3-B597-FBFACD41428F}"/>
          </ac:spMkLst>
        </pc:spChg>
        <pc:picChg chg="mod">
          <ac:chgData name="Baskind, Natalya {PI}" userId="85cf178f-a36f-487c-9312-0511ee9e1eb4" providerId="ADAL" clId="{8B56A6FC-2257-46CB-86F6-AA2F3965E34B}" dt="2020-07-14T09:40:02.991" v="39" actId="1036"/>
          <ac:picMkLst>
            <pc:docMk/>
            <pc:sldMk cId="3708489921" sldId="1948764941"/>
            <ac:picMk id="8" creationId="{853DAB5D-30FC-449F-9230-74F41BEE8994}"/>
          </ac:picMkLst>
        </pc:picChg>
      </pc:sldChg>
      <pc:sldChg chg="delSp mod">
        <pc:chgData name="Baskind, Natalya {PI}" userId="85cf178f-a36f-487c-9312-0511ee9e1eb4" providerId="ADAL" clId="{8B56A6FC-2257-46CB-86F6-AA2F3965E34B}" dt="2020-07-14T07:12:23.353" v="0" actId="478"/>
        <pc:sldMkLst>
          <pc:docMk/>
          <pc:sldMk cId="165076078" sldId="1948764945"/>
        </pc:sldMkLst>
        <pc:spChg chg="del">
          <ac:chgData name="Baskind, Natalya {PI}" userId="85cf178f-a36f-487c-9312-0511ee9e1eb4" providerId="ADAL" clId="{8B56A6FC-2257-46CB-86F6-AA2F3965E34B}" dt="2020-07-14T07:12:23.353" v="0" actId="478"/>
          <ac:spMkLst>
            <pc:docMk/>
            <pc:sldMk cId="165076078" sldId="1948764945"/>
            <ac:spMk id="3" creationId="{66E7AAAE-C712-47C1-AD18-3454D62EE611}"/>
          </ac:spMkLst>
        </pc:spChg>
      </pc:sldChg>
      <pc:sldChg chg="modSp del mod modShow">
        <pc:chgData name="Baskind, Natalya {PI}" userId="85cf178f-a36f-487c-9312-0511ee9e1eb4" providerId="ADAL" clId="{8B56A6FC-2257-46CB-86F6-AA2F3965E34B}" dt="2020-07-14T08:58:46.930" v="29" actId="47"/>
        <pc:sldMkLst>
          <pc:docMk/>
          <pc:sldMk cId="2253888632" sldId="1948764947"/>
        </pc:sldMkLst>
        <pc:spChg chg="mod">
          <ac:chgData name="Baskind, Natalya {PI}" userId="85cf178f-a36f-487c-9312-0511ee9e1eb4" providerId="ADAL" clId="{8B56A6FC-2257-46CB-86F6-AA2F3965E34B}" dt="2020-07-14T08:58:38.634" v="28" actId="21"/>
          <ac:spMkLst>
            <pc:docMk/>
            <pc:sldMk cId="2253888632" sldId="1948764947"/>
            <ac:spMk id="119" creationId="{00000000-0000-0000-0000-000000000000}"/>
          </ac:spMkLst>
        </pc:spChg>
      </pc:sldChg>
      <pc:sldChg chg="modSp mod">
        <pc:chgData name="Baskind, Natalya {PI}" userId="85cf178f-a36f-487c-9312-0511ee9e1eb4" providerId="ADAL" clId="{8B56A6FC-2257-46CB-86F6-AA2F3965E34B}" dt="2020-07-14T07:12:33.676" v="1" actId="1036"/>
        <pc:sldMkLst>
          <pc:docMk/>
          <pc:sldMk cId="38169679" sldId="1948764949"/>
        </pc:sldMkLst>
        <pc:picChg chg="mod">
          <ac:chgData name="Baskind, Natalya {PI}" userId="85cf178f-a36f-487c-9312-0511ee9e1eb4" providerId="ADAL" clId="{8B56A6FC-2257-46CB-86F6-AA2F3965E34B}" dt="2020-07-14T07:12:33.676" v="1" actId="1036"/>
          <ac:picMkLst>
            <pc:docMk/>
            <pc:sldMk cId="38169679" sldId="1948764949"/>
            <ac:picMk id="286" creationId="{00000000-0000-0000-0000-000000000000}"/>
          </ac:picMkLst>
        </pc:picChg>
      </pc:sldChg>
      <pc:sldChg chg="modSp mod">
        <pc:chgData name="Baskind, Natalya {PI}" userId="85cf178f-a36f-487c-9312-0511ee9e1eb4" providerId="ADAL" clId="{8B56A6FC-2257-46CB-86F6-AA2F3965E34B}" dt="2020-07-14T09:46:31.092" v="40" actId="1076"/>
        <pc:sldMkLst>
          <pc:docMk/>
          <pc:sldMk cId="2132211201" sldId="1948764950"/>
        </pc:sldMkLst>
        <pc:picChg chg="mod">
          <ac:chgData name="Baskind, Natalya {PI}" userId="85cf178f-a36f-487c-9312-0511ee9e1eb4" providerId="ADAL" clId="{8B56A6FC-2257-46CB-86F6-AA2F3965E34B}" dt="2020-07-14T09:46:31.092" v="40" actId="1076"/>
          <ac:picMkLst>
            <pc:docMk/>
            <pc:sldMk cId="2132211201" sldId="1948764950"/>
            <ac:picMk id="13" creationId="{2220D067-5C80-45D8-8224-36524C987C73}"/>
          </ac:picMkLst>
        </pc:picChg>
      </pc:sldChg>
      <pc:sldChg chg="delSp modSp mod">
        <pc:chgData name="Baskind, Natalya {PI}" userId="85cf178f-a36f-487c-9312-0511ee9e1eb4" providerId="ADAL" clId="{8B56A6FC-2257-46CB-86F6-AA2F3965E34B}" dt="2020-07-14T08:15:58.230" v="15" actId="478"/>
        <pc:sldMkLst>
          <pc:docMk/>
          <pc:sldMk cId="2699378511" sldId="1948764961"/>
        </pc:sldMkLst>
        <pc:spChg chg="del mod">
          <ac:chgData name="Baskind, Natalya {PI}" userId="85cf178f-a36f-487c-9312-0511ee9e1eb4" providerId="ADAL" clId="{8B56A6FC-2257-46CB-86F6-AA2F3965E34B}" dt="2020-07-14T08:15:58.230" v="15" actId="478"/>
          <ac:spMkLst>
            <pc:docMk/>
            <pc:sldMk cId="2699378511" sldId="1948764961"/>
            <ac:spMk id="5" creationId="{9CD29FAF-677D-489F-9358-2D26AD67A8B3}"/>
          </ac:spMkLst>
        </pc:spChg>
      </pc:sldChg>
      <pc:sldChg chg="delSp mod">
        <pc:chgData name="Baskind, Natalya {PI}" userId="85cf178f-a36f-487c-9312-0511ee9e1eb4" providerId="ADAL" clId="{8B56A6FC-2257-46CB-86F6-AA2F3965E34B}" dt="2020-07-14T08:16:02.748" v="16" actId="478"/>
        <pc:sldMkLst>
          <pc:docMk/>
          <pc:sldMk cId="3352058564" sldId="1948764962"/>
        </pc:sldMkLst>
        <pc:spChg chg="del">
          <ac:chgData name="Baskind, Natalya {PI}" userId="85cf178f-a36f-487c-9312-0511ee9e1eb4" providerId="ADAL" clId="{8B56A6FC-2257-46CB-86F6-AA2F3965E34B}" dt="2020-07-14T08:16:02.748" v="16" actId="478"/>
          <ac:spMkLst>
            <pc:docMk/>
            <pc:sldMk cId="3352058564" sldId="1948764962"/>
            <ac:spMk id="5" creationId="{5C1965AA-6439-44D9-9A26-56042D4CB5EA}"/>
          </ac:spMkLst>
        </pc:spChg>
      </pc:sldChg>
      <pc:sldChg chg="delSp mod">
        <pc:chgData name="Baskind, Natalya {PI}" userId="85cf178f-a36f-487c-9312-0511ee9e1eb4" providerId="ADAL" clId="{8B56A6FC-2257-46CB-86F6-AA2F3965E34B}" dt="2020-07-14T08:16:07.035" v="17" actId="478"/>
        <pc:sldMkLst>
          <pc:docMk/>
          <pc:sldMk cId="289455897" sldId="1948764963"/>
        </pc:sldMkLst>
        <pc:spChg chg="del">
          <ac:chgData name="Baskind, Natalya {PI}" userId="85cf178f-a36f-487c-9312-0511ee9e1eb4" providerId="ADAL" clId="{8B56A6FC-2257-46CB-86F6-AA2F3965E34B}" dt="2020-07-14T08:16:07.035" v="17" actId="478"/>
          <ac:spMkLst>
            <pc:docMk/>
            <pc:sldMk cId="289455897" sldId="1948764963"/>
            <ac:spMk id="4" creationId="{6D23192D-3318-4BF4-8278-EDF65E060A13}"/>
          </ac:spMkLst>
        </pc:spChg>
      </pc:sldChg>
      <pc:sldChg chg="mod modShow">
        <pc:chgData name="Baskind, Natalya {PI}" userId="85cf178f-a36f-487c-9312-0511ee9e1eb4" providerId="ADAL" clId="{8B56A6FC-2257-46CB-86F6-AA2F3965E34B}" dt="2020-07-14T08:24:01.776" v="27" actId="729"/>
        <pc:sldMkLst>
          <pc:docMk/>
          <pc:sldMk cId="2927775786" sldId="1948764967"/>
        </pc:sldMkLst>
      </pc:sldChg>
      <pc:sldChg chg="modSp mod">
        <pc:chgData name="Baskind, Natalya {PI}" userId="85cf178f-a36f-487c-9312-0511ee9e1eb4" providerId="ADAL" clId="{8B56A6FC-2257-46CB-86F6-AA2F3965E34B}" dt="2020-07-14T08:23:52.711" v="26" actId="20577"/>
        <pc:sldMkLst>
          <pc:docMk/>
          <pc:sldMk cId="3179988060" sldId="1948764968"/>
        </pc:sldMkLst>
        <pc:spChg chg="mod">
          <ac:chgData name="Baskind, Natalya {PI}" userId="85cf178f-a36f-487c-9312-0511ee9e1eb4" providerId="ADAL" clId="{8B56A6FC-2257-46CB-86F6-AA2F3965E34B}" dt="2020-07-14T08:23:52.711" v="26" actId="20577"/>
          <ac:spMkLst>
            <pc:docMk/>
            <pc:sldMk cId="3179988060" sldId="1948764968"/>
            <ac:spMk id="5" creationId="{E75ADC87-2BD1-462F-8BFA-0521E66F10AD}"/>
          </ac:spMkLst>
        </pc:spChg>
      </pc:sldChg>
      <pc:sldChg chg="del">
        <pc:chgData name="Baskind, Natalya {PI}" userId="85cf178f-a36f-487c-9312-0511ee9e1eb4" providerId="ADAL" clId="{8B56A6FC-2257-46CB-86F6-AA2F3965E34B}" dt="2020-07-14T08:06:22.418" v="9" actId="47"/>
        <pc:sldMkLst>
          <pc:docMk/>
          <pc:sldMk cId="690320563" sldId="1948764969"/>
        </pc:sldMkLst>
      </pc:sldChg>
      <pc:sldChg chg="del mod modShow">
        <pc:chgData name="Baskind, Natalya {PI}" userId="85cf178f-a36f-487c-9312-0511ee9e1eb4" providerId="ADAL" clId="{8B56A6FC-2257-46CB-86F6-AA2F3965E34B}" dt="2020-07-14T08:59:02.072" v="30" actId="47"/>
        <pc:sldMkLst>
          <pc:docMk/>
          <pc:sldMk cId="2566636520" sldId="1948764970"/>
        </pc:sldMkLst>
      </pc:sldChg>
      <pc:sldChg chg="del mod ord modShow">
        <pc:chgData name="Baskind, Natalya {PI}" userId="85cf178f-a36f-487c-9312-0511ee9e1eb4" providerId="ADAL" clId="{8B56A6FC-2257-46CB-86F6-AA2F3965E34B}" dt="2020-07-14T08:59:05.027" v="31" actId="47"/>
        <pc:sldMkLst>
          <pc:docMk/>
          <pc:sldMk cId="2703508580" sldId="1948764971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EBDFB0-3357-463C-91BD-BCC7761BA157}" type="datetimeFigureOut">
              <a:rPr lang="ru-RU" smtClean="0"/>
              <a:t>14.07.2020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8216E4-D9BF-491E-9FD6-412FF2F1AA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8708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/>
              <a:t>Так же, хочу вас познакомить с брендами компании </a:t>
            </a:r>
            <a:r>
              <a:rPr lang="en-US"/>
              <a:t>PepsiCo.</a:t>
            </a:r>
          </a:p>
          <a:p>
            <a:r>
              <a:rPr lang="ru-RU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psiCo</a:t>
            </a:r>
            <a:r>
              <a:rPr lang="ru-RU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— один из крупнейших в мире производителей продуктов питания и напитков под известными и любимыми брендами.</a:t>
            </a:r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России наш портфель представлен 5 категориями известных и любимых брендов.</a:t>
            </a:r>
          </a:p>
          <a:p>
            <a:r>
              <a:rPr lang="ru-RU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о молочная продукция, </a:t>
            </a:r>
            <a:r>
              <a:rPr lang="ru-RU" sz="12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нэки</a:t>
            </a:r>
            <a:r>
              <a:rPr lang="ru-RU" sz="12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напитки, детское питание и соки. На этом слайде представлена лишь часть наших брендов, но, уверена, вы со всеми из них знакомы.</a:t>
            </a: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0709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g7fb25ac9d9_0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1" name="Google Shape;81;g7fb25ac9d9_0_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9142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9142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8551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/>
              <a:t>Во-первых – резко изменилось поведение потребителей, они начали активно покупать онлайн. Изменение произошло так резко, что к нему не были готовы даже крупные ритейлеры. Думаю, что многие из вас обратили внимание на увеличенные сроки доставки в первые недели после перехода на работу и обучение из дома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/>
              <a:t>Следующий вызов – изменение в рабочих процессах. Мы стали изолированы друг от друга, менее мобильны – это заставило нас изменить процессы, которые выстраивались до этого много лет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/>
              <a:t>Изменились и интересы потребителя – люди стали проводить всё время дома, им перестали быть доступны ранее привычные им развлечения и виды досуга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/>
              <a:t>И, как социально ответственная компания, мы не могли оставить без внимания ухудшение эмоционального и финансового состояния населения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ru-RU"/>
          </a:p>
          <a:p>
            <a:pPr marL="0" indent="0">
              <a:buFont typeface="Arial" panose="020B0604020202020204" pitchFamily="34" charset="0"/>
              <a:buNone/>
            </a:pPr>
            <a:r>
              <a:rPr lang="ru-RU"/>
              <a:t>Далее, я и мои коллеги расскажем что мы предприняли в связи с обозначенными изменениями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8105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/>
              <a:t>И первое, на что хотелось бы обратить внимание, это резкое и значительное изменение модели потребления – а именно, рост </a:t>
            </a:r>
            <a:r>
              <a:rPr lang="en-US"/>
              <a:t>e-com</a:t>
            </a:r>
            <a:r>
              <a:rPr lang="ru-RU"/>
              <a:t> канала. И передаю слово Виолетте Мининой, руководителю отдела электронной коммерции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914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/>
              <a:t>Раньше – сайт, теперь </a:t>
            </a:r>
            <a:r>
              <a:rPr lang="ru-RU" err="1"/>
              <a:t>лендинг</a:t>
            </a:r>
            <a:r>
              <a:rPr lang="ru-RU"/>
              <a:t> в </a:t>
            </a:r>
            <a:r>
              <a:rPr lang="ru-RU" err="1"/>
              <a:t>еком</a:t>
            </a:r>
            <a:r>
              <a:rPr lang="ru-RU"/>
              <a:t>. Заметьте без </a:t>
            </a:r>
            <a:r>
              <a:rPr lang="ru-RU" err="1"/>
              <a:t>доп</a:t>
            </a:r>
            <a:r>
              <a:rPr lang="ru-RU"/>
              <a:t> </a:t>
            </a:r>
            <a:r>
              <a:rPr lang="ru-RU" err="1"/>
              <a:t>офера</a:t>
            </a:r>
            <a:r>
              <a:rPr lang="ru-RU"/>
              <a:t>. Но с адаптацией месседжа от общей коммуникации для </a:t>
            </a:r>
            <a:r>
              <a:rPr lang="ru-RU" err="1"/>
              <a:t>еком</a:t>
            </a:r>
            <a:endParaRPr lang="en-US"/>
          </a:p>
          <a:p>
            <a:r>
              <a:rPr lang="ru-RU"/>
              <a:t>Как следствие – общий таргетинг </a:t>
            </a:r>
            <a:r>
              <a:rPr lang="ru-RU" err="1"/>
              <a:t>ок</a:t>
            </a:r>
            <a:r>
              <a:rPr lang="ru-RU"/>
              <a:t>, но еще лучше</a:t>
            </a:r>
            <a:r>
              <a:rPr lang="en-US"/>
              <a:t> </a:t>
            </a:r>
            <a:r>
              <a:rPr lang="ru-RU"/>
              <a:t>работает разбивка на тех, кто уже покупатель и новый покупатель, ремаркетинг на брошенные корзины и другие сценарии, а это уже влечет изменения в стратегии медиа планирования как след шаг по сути делая шаг навстречу перформанс маркетингу, который ранее не был характерен для </a:t>
            </a:r>
            <a:r>
              <a:rPr lang="en-US"/>
              <a:t>FMCG </a:t>
            </a:r>
            <a:r>
              <a:rPr lang="ru-RU"/>
              <a:t>категорий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54250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/>
              <a:t>Кроме того </a:t>
            </a:r>
            <a:r>
              <a:rPr lang="ru-RU" err="1"/>
              <a:t>екоммерс</a:t>
            </a:r>
            <a:r>
              <a:rPr lang="ru-RU"/>
              <a:t> сам по себе становится медиа площадкой. В этом смысле с притоком аудитории в </a:t>
            </a:r>
            <a:r>
              <a:rPr lang="ru-RU" err="1"/>
              <a:t>еком</a:t>
            </a:r>
            <a:r>
              <a:rPr lang="ru-RU"/>
              <a:t> он может и начинает играть полноценную замену онлайн платформам. В России это пока маленький и растущий тренд, в то время как в Штатах тот же Амазон с покрытием более 50% населения уже является площадкой где аудитория начинает поиск информации и отзывов о товарах даже при покупке в оффлайн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3751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9142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4" name="Google Shape;124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SzPts val="1100"/>
              <a:buNone/>
            </a:pPr>
            <a:r>
              <a:rPr lang="ru-RU" sz="800" dirty="0">
                <a:solidFill>
                  <a:schemeClr val="dk1"/>
                </a:solidFill>
                <a:latin typeface="Montserrat"/>
                <a:sym typeface="Montserrat"/>
              </a:rPr>
              <a:t>Мы привыкли выбираться из дома за постоянной порцией новых впечатлений и настроения.</a:t>
            </a:r>
          </a:p>
          <a:p>
            <a:pPr marL="0" indent="0">
              <a:lnSpc>
                <a:spcPct val="100000"/>
              </a:lnSpc>
              <a:buNone/>
            </a:pPr>
            <a:endParaRPr lang="ru-RU" sz="800" dirty="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800" dirty="0">
                <a:solidFill>
                  <a:schemeClr val="dk1"/>
                </a:solidFill>
                <a:latin typeface="Montserrat"/>
                <a:sym typeface="Montserrat"/>
              </a:rPr>
              <a:t>Сейчас же все немного изменилось, но это не повод расстраиваться – </a:t>
            </a:r>
            <a:r>
              <a:rPr lang="ru-RU" sz="800" dirty="0" err="1">
                <a:solidFill>
                  <a:schemeClr val="dk1"/>
                </a:solidFill>
                <a:latin typeface="Montserrat"/>
                <a:sym typeface="Montserrat"/>
              </a:rPr>
              <a:t>Lay’s</a:t>
            </a:r>
            <a:r>
              <a:rPr lang="ru-RU" sz="800" dirty="0">
                <a:solidFill>
                  <a:schemeClr val="dk1"/>
                </a:solidFill>
                <a:latin typeface="Montserrat"/>
                <a:sym typeface="Montserrat"/>
              </a:rPr>
              <a:t> доставит утерянные эмоции!</a:t>
            </a:r>
          </a:p>
          <a:p>
            <a:pPr marL="0" indent="0">
              <a:lnSpc>
                <a:spcPct val="100000"/>
              </a:lnSpc>
              <a:buNone/>
            </a:pPr>
            <a:endParaRPr lang="ru-RU" sz="800" dirty="0">
              <a:solidFill>
                <a:schemeClr val="dk1"/>
              </a:solidFill>
              <a:latin typeface="Montserrat"/>
              <a:sym typeface="Montserrat"/>
            </a:endParaRPr>
          </a:p>
          <a:p>
            <a:pPr marL="0" lvl="0" indent="0">
              <a:lnSpc>
                <a:spcPct val="100000"/>
              </a:lnSpc>
              <a:buNone/>
            </a:pPr>
            <a:r>
              <a:rPr lang="ru-RU" sz="800" b="1" dirty="0">
                <a:solidFill>
                  <a:schemeClr val="dk1"/>
                </a:solidFill>
                <a:latin typeface="Montserrat"/>
                <a:sym typeface="Montserrat"/>
              </a:rPr>
              <a:t>Кампания бренда убедит каждого, что дома – вкуснее с </a:t>
            </a:r>
            <a:r>
              <a:rPr lang="ru-RU" sz="800" b="1" dirty="0" err="1">
                <a:solidFill>
                  <a:schemeClr val="dk1"/>
                </a:solidFill>
                <a:latin typeface="Montserrat"/>
                <a:sym typeface="Montserrat"/>
              </a:rPr>
              <a:t>Lay’s</a:t>
            </a:r>
            <a:r>
              <a:rPr lang="ru-RU" sz="800" b="1" dirty="0">
                <a:solidFill>
                  <a:schemeClr val="dk1"/>
                </a:solidFill>
                <a:latin typeface="Montserrat"/>
                <a:sym typeface="Montserrat"/>
              </a:rPr>
              <a:t>!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sz="700" dirty="0">
              <a:solidFill>
                <a:srgbClr val="666666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700" dirty="0">
              <a:solidFill>
                <a:srgbClr val="222222"/>
              </a:solidFill>
              <a:highlight>
                <a:srgbClr val="F8F9FA"/>
              </a:highlight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sz="700" dirty="0">
              <a:latin typeface="Montserrat"/>
              <a:ea typeface="Montserrat"/>
              <a:cs typeface="Montserrat"/>
              <a:sym typeface="Montserrat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g77a08f39d9_7_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" sz="70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На этапе планирования промо KPI по UGС были просчитаны на основе бенчмарка предыдущих промо с использованием аналогичного инструмента. Но идея и механика данного промо показали значительно более высокие результаты по вовлеченности пользователей: </a:t>
            </a:r>
            <a:endParaRPr sz="7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2730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Montserrat"/>
              <a:buChar char="●"/>
            </a:pPr>
            <a:r>
              <a:rPr lang="ru" sz="70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Планируемая конверсия доставки - публикации пользователей - 5% </a:t>
            </a:r>
            <a:endParaRPr sz="700">
              <a:solidFill>
                <a:schemeClr val="dk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457200" lvl="0" indent="-2730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00"/>
              <a:buFont typeface="Montserrat"/>
              <a:buChar char="●"/>
            </a:pPr>
            <a:r>
              <a:rPr lang="ru" sz="700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rPr>
              <a:t>Фактическая конверсия доставки - публикации - 47,96%</a:t>
            </a:r>
            <a:endParaRPr sz="700"/>
          </a:p>
        </p:txBody>
      </p:sp>
      <p:sp>
        <p:nvSpPr>
          <p:cNvPr id="267" name="Google Shape;267;g77a08f39d9_7_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/>
              <a:t>Далее передаю слово Анне, старшему бренд менеджеру категории детского питания. Аня расскажет вам про проект «Я в Домике»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8216E4-D9BF-491E-9FD6-412FF2F1AA44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7763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4896467" y="904568"/>
            <a:ext cx="6681412" cy="3013514"/>
          </a:xfrm>
          <a:prstGeom prst="rect">
            <a:avLst/>
          </a:prstGeom>
          <a:solidFill>
            <a:srgbClr val="004C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896466" y="955739"/>
            <a:ext cx="6575867" cy="2387600"/>
          </a:xfrm>
        </p:spPr>
        <p:txBody>
          <a:bodyPr anchor="b">
            <a:normAutofit/>
          </a:bodyPr>
          <a:lstStyle>
            <a:lvl1pPr algn="r"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REE LINE</a:t>
            </a:r>
            <a:br>
              <a:rPr lang="en-US"/>
            </a:br>
            <a:r>
              <a:rPr lang="en-US"/>
              <a:t>HEADLINE</a:t>
            </a:r>
            <a:br>
              <a:rPr lang="en-US"/>
            </a:br>
            <a:r>
              <a:rPr lang="en-US"/>
              <a:t>MAXIMUM HERE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896466" y="3343339"/>
            <a:ext cx="6575868" cy="605895"/>
          </a:xfrm>
        </p:spPr>
        <p:txBody>
          <a:bodyPr>
            <a:normAutofit/>
          </a:bodyPr>
          <a:lstStyle>
            <a:lvl1pPr marL="0" indent="0" algn="r">
              <a:buNone/>
              <a:defRPr sz="2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ONE-LINE SUBHEAD</a:t>
            </a:r>
            <a:endParaRPr lang="ru-RU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 flipH="1">
            <a:off x="9214796" y="4160155"/>
            <a:ext cx="2363083" cy="452432"/>
          </a:xfrm>
          <a:solidFill>
            <a:srgbClr val="004C97"/>
          </a:solidFill>
        </p:spPr>
        <p:txBody>
          <a:bodyPr wrap="none" lIns="164592" tIns="100584" rIns="164592" bIns="100584" anchor="ctr" anchorCtr="0">
            <a:spAutoFit/>
          </a:bodyPr>
          <a:lstStyle>
            <a:lvl1pPr marL="0" indent="0" algn="r">
              <a:buFontTx/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2pPr>
            <a:lvl3pPr marL="9144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3pPr>
            <a:lvl4pPr marL="13716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4pPr>
            <a:lvl5pPr marL="18288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January 24, 2018</a:t>
            </a:r>
          </a:p>
        </p:txBody>
      </p:sp>
    </p:spTree>
    <p:extLst>
      <p:ext uri="{BB962C8B-B14F-4D97-AF65-F5344CB8AC3E}">
        <p14:creationId xmlns:p14="http://schemas.microsoft.com/office/powerpoint/2010/main" val="7601184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раздел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9"/>
          <p:cNvSpPr>
            <a:spLocks noGrp="1"/>
          </p:cNvSpPr>
          <p:nvPr>
            <p:ph type="body" sz="quarter" idx="10" hasCustomPrompt="1"/>
          </p:nvPr>
        </p:nvSpPr>
        <p:spPr>
          <a:xfrm flipH="1">
            <a:off x="5846951" y="2945075"/>
            <a:ext cx="5730928" cy="1034129"/>
          </a:xfrm>
          <a:solidFill>
            <a:srgbClr val="004C97"/>
          </a:solidFill>
        </p:spPr>
        <p:txBody>
          <a:bodyPr wrap="none" lIns="164592" tIns="100584" rIns="164592" bIns="100584" anchor="ctr" anchorCtr="0">
            <a:spAutoFit/>
          </a:bodyPr>
          <a:lstStyle>
            <a:lvl1pPr marL="0" indent="0" algn="r">
              <a:buFontTx/>
              <a:buNone/>
              <a:defRPr sz="600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2pPr>
            <a:lvl3pPr marL="9144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3pPr>
            <a:lvl4pPr marL="13716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4pPr>
            <a:lvl5pPr marL="18288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38683160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CEB232-67FD-4F6F-AE29-73E154D40D49}" type="datetimeFigureOut">
              <a:rPr lang="ru-RU" smtClean="0"/>
              <a:t>14.07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D57A10-E531-453C-BB14-C32BE815D3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1397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REPORT 3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D0FD96-C334-4E0E-AB76-32E58AF598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4820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D0FD96-C334-4E0E-AB76-32E58AF598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1CFE91B-9B2C-48D3-9C35-770B981990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514" y="1663559"/>
            <a:ext cx="3555255" cy="397305"/>
          </a:xfrm>
          <a:solidFill>
            <a:schemeClr val="accent5">
              <a:lumMod val="50000"/>
            </a:schemeClr>
          </a:solidFill>
          <a:ln w="9525">
            <a:solidFill>
              <a:schemeClr val="accent5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>
            <a:normAutofit/>
          </a:bodyPr>
          <a:lstStyle>
            <a:lvl1pPr marL="0" indent="0" algn="ctr">
              <a:buNone/>
              <a:defRPr lang="en-US" sz="1600" b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lang="en-US" sz="180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lang="en-US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lang="en-GB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marL="0" lvl="0" algn="ctr" defTabSz="1219119"/>
            <a:r>
              <a:rPr lang="en-US"/>
              <a:t>Column title 1</a:t>
            </a:r>
          </a:p>
        </p:txBody>
      </p:sp>
      <p:sp>
        <p:nvSpPr>
          <p:cNvPr id="3" name="Shape 10"/>
          <p:cNvSpPr/>
          <p:nvPr userDrawn="1"/>
        </p:nvSpPr>
        <p:spPr>
          <a:xfrm>
            <a:off x="6002" y="-1"/>
            <a:ext cx="12185998" cy="5636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448800" y="654482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000B0F-5075-430F-A280-D122F2F4D57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7481" y="126757"/>
            <a:ext cx="1304582" cy="341800"/>
          </a:xfrm>
          <a:prstGeom prst="rect">
            <a:avLst/>
          </a:prstGeom>
        </p:spPr>
      </p:pic>
      <p:sp>
        <p:nvSpPr>
          <p:cNvPr id="10" name="Shape 28"/>
          <p:cNvSpPr txBox="1">
            <a:spLocks noGrp="1"/>
          </p:cNvSpPr>
          <p:nvPr>
            <p:ph type="title" hasCustomPrompt="1"/>
          </p:nvPr>
        </p:nvSpPr>
        <p:spPr>
          <a:xfrm>
            <a:off x="324166" y="654850"/>
            <a:ext cx="11134385" cy="44461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lvl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800" b="1" kern="1200" dirty="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None/>
              <a:defRPr sz="2600">
                <a:solidFill>
                  <a:schemeClr val="dk2"/>
                </a:solidFill>
              </a:defRPr>
            </a:lvl9pPr>
          </a:lstStyle>
          <a:p>
            <a:r>
              <a:rPr lang="en-GB"/>
              <a:t>ADD SLIDE TITLE HERE</a:t>
            </a:r>
            <a:endParaRPr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21514" y="1131478"/>
            <a:ext cx="11134385" cy="300124"/>
          </a:xfrm>
        </p:spPr>
        <p:txBody>
          <a:bodyPr anchor="ctr">
            <a:no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title Her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853326D-BCD5-4AE0-9AC6-8A0C72F128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1514" y="140085"/>
            <a:ext cx="11134385" cy="300124"/>
          </a:xfr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600" b="1" kern="1200" cap="all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GB"/>
              <a:t>Breadcrumb  |  summarise agenda here &amp; highlight current section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A9196BB-92D5-4C39-A8DA-6558693DD4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05098" y="6648899"/>
            <a:ext cx="10150801" cy="203133"/>
          </a:xfrm>
          <a:noFill/>
        </p:spPr>
        <p:txBody>
          <a:bodyPr wrap="square" rtlCol="0" anchor="b">
            <a:spAutoFit/>
          </a:bodyPr>
          <a:lstStyle>
            <a:lvl1pPr marL="0" indent="0" algn="l">
              <a:buNone/>
              <a:defRPr lang="en-GB" sz="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/>
            <a:r>
              <a:rPr lang="en-GB" sz="80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s: 1 - ;  2- etc.; Sources:</a:t>
            </a: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79733BD1-C97C-4BCD-BC12-0CAE88CCEE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079" y="1663559"/>
            <a:ext cx="3555255" cy="397305"/>
          </a:xfr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>
            <a:normAutofit/>
          </a:bodyPr>
          <a:lstStyle>
            <a:lvl1pPr marL="0" indent="0" algn="ctr">
              <a:buNone/>
              <a:defRPr lang="en-US" sz="1600" b="1" kern="1200" dirty="0" smtClean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lang="en-US" sz="180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lang="en-US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lang="en-GB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marL="0" lvl="0" indent="0" algn="ctr" defTabSz="12191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olumn title 2</a:t>
            </a:r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825697B0-C16A-4AFB-872E-39C15BD7E3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00644" y="1663559"/>
            <a:ext cx="3555255" cy="397305"/>
          </a:xfrm>
          <a:solidFill>
            <a:schemeClr val="tx1">
              <a:lumMod val="75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0" rIns="18000" bIns="0" rtlCol="0" anchor="ctr">
            <a:normAutofit/>
          </a:bodyPr>
          <a:lstStyle>
            <a:lvl1pPr marL="0" indent="0" algn="ctr">
              <a:buNone/>
              <a:defRPr lang="en-US" sz="1600" b="1" kern="1200" dirty="0" smtClean="0">
                <a:solidFill>
                  <a:prstClr val="white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lang="en-US" sz="1800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lang="en-US" smtClean="0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lang="en-GB"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marL="0" lvl="0" indent="0" algn="ctr" defTabSz="12191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Column title 3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3EF6FF7-B2A9-434B-932A-832EF0E38AB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1514" y="2060864"/>
            <a:ext cx="3555255" cy="4364874"/>
          </a:xfrm>
          <a:ln>
            <a:solidFill>
              <a:schemeClr val="accent5">
                <a:lumMod val="50000"/>
              </a:schemeClr>
            </a:solidFill>
          </a:ln>
        </p:spPr>
        <p:txBody>
          <a:bodyPr>
            <a:noAutofit/>
          </a:bodyPr>
          <a:lstStyle>
            <a:lvl1pPr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100">
                <a:solidFill>
                  <a:schemeClr val="tx2"/>
                </a:solidFill>
              </a:defRPr>
            </a:lvl4pPr>
            <a:lvl5pPr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ABC04ACA-BE52-4C9A-BD07-0B3825741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111079" y="2060864"/>
            <a:ext cx="3555255" cy="4364874"/>
          </a:xfrm>
          <a:ln>
            <a:solidFill>
              <a:schemeClr val="accent6">
                <a:lumMod val="50000"/>
              </a:schemeClr>
            </a:solidFill>
          </a:ln>
        </p:spPr>
        <p:txBody>
          <a:bodyPr>
            <a:noAutofit/>
          </a:bodyPr>
          <a:lstStyle>
            <a:lvl1pPr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100">
                <a:solidFill>
                  <a:schemeClr val="tx2"/>
                </a:solidFill>
              </a:defRPr>
            </a:lvl4pPr>
            <a:lvl5pPr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F796661A-8A3B-46BA-8593-A21EF0E891B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00643" y="2060864"/>
            <a:ext cx="3555255" cy="4364874"/>
          </a:xfrm>
          <a:ln>
            <a:solidFill>
              <a:schemeClr val="tx1">
                <a:lumMod val="75000"/>
              </a:schemeClr>
            </a:solidFill>
          </a:ln>
        </p:spPr>
        <p:txBody>
          <a:bodyPr>
            <a:noAutofit/>
          </a:bodyPr>
          <a:lstStyle>
            <a:lvl1pPr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100">
                <a:solidFill>
                  <a:schemeClr val="tx2"/>
                </a:solidFill>
              </a:defRPr>
            </a:lvl4pPr>
            <a:lvl5pPr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22548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04" b="837"/>
          <a:stretch/>
        </p:blipFill>
        <p:spPr>
          <a:xfrm>
            <a:off x="2368" y="-1"/>
            <a:ext cx="12205466" cy="6875869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5834" y="0"/>
            <a:ext cx="12192000" cy="6858000"/>
          </a:xfrm>
          <a:prstGeom prst="rect">
            <a:avLst/>
          </a:prstGeom>
          <a:solidFill>
            <a:schemeClr val="tx2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000B0F-5075-430F-A280-D122F2F4D57A}" type="slidenum">
              <a:rPr lang="en-GB" smtClean="0"/>
              <a:t>‹#›</a:t>
            </a:fld>
            <a:endParaRPr lang="en-GB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42027" y="5249368"/>
            <a:ext cx="11379200" cy="113241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5867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IGHLIGHT IDEAS AND INSPIRATION ON A FULL PAG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7481" y="126757"/>
            <a:ext cx="1304582" cy="3418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60DDC5-9C39-415A-867D-9795B7B556E4}"/>
              </a:ext>
            </a:extLst>
          </p:cNvPr>
          <p:cNvSpPr txBox="1"/>
          <p:nvPr userDrawn="1"/>
        </p:nvSpPr>
        <p:spPr>
          <a:xfrm>
            <a:off x="-125260" y="6645037"/>
            <a:ext cx="14530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>
                <a:solidFill>
                  <a:schemeClr val="accent1">
                    <a:lumMod val="60000"/>
                    <a:lumOff val="40000"/>
                  </a:schemeClr>
                </a:solidFill>
              </a:rPr>
              <a:t>  Pepsi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77482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63" name="Google Shape;6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20272989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л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3">
            <a:extLst>
              <a:ext uri="{FF2B5EF4-FFF2-40B4-BE49-F238E27FC236}">
                <a16:creationId xmlns:a16="http://schemas.microsoft.com/office/drawing/2014/main" id="{607F4B8C-DB90-6540-9795-57F9A5AAAF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3852" y="273571"/>
            <a:ext cx="10617097" cy="727349"/>
          </a:xfrm>
          <a:prstGeom prst="rect">
            <a:avLst/>
          </a:prstGeom>
        </p:spPr>
        <p:txBody>
          <a:bodyPr vert="horz" lIns="0" tIns="198000" rIns="0" bIns="0" rtlCol="0" anchor="t">
            <a:noAutofit/>
          </a:bodyPr>
          <a:lstStyle>
            <a:lvl1pPr>
              <a:defRPr>
                <a:latin typeface="YS Text Regular" pitchFamily="2" charset="-52"/>
              </a:defRPr>
            </a:lvl1pPr>
          </a:lstStyle>
          <a:p>
            <a:r>
              <a:rPr lang="ru-RU"/>
              <a:t>Заголовок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CB4834C-13A3-1E45-A0FE-EAE4CD8208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93851" y="6312341"/>
            <a:ext cx="8783366" cy="21263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defRPr sz="1000"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B4987C1-9D19-CF40-BD05-035DFB1E0C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60001" y="6310575"/>
            <a:ext cx="546929" cy="220854"/>
          </a:xfrm>
          <a:prstGeom prst="rect">
            <a:avLst/>
          </a:prstGeom>
        </p:spPr>
        <p:txBody>
          <a:bodyPr vert="horz" lIns="0" tIns="72000" rIns="0" bIns="0" rtlCol="0" anchor="ctr"/>
          <a:lstStyle>
            <a:lvl1pPr algn="r">
              <a:defRPr sz="1200">
                <a:solidFill>
                  <a:schemeClr val="tx1"/>
                </a:solidFill>
                <a:latin typeface="YS Text Light" pitchFamily="2" charset="-52"/>
              </a:defRPr>
            </a:lvl1pPr>
          </a:lstStyle>
          <a:p>
            <a:fld id="{741C03D3-FA44-40EC-9A21-1FC4FEA3E22E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6F273CA4-8668-8D40-89E1-2DF41C7798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3852" y="1714925"/>
            <a:ext cx="10613078" cy="44096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>
                <a:latin typeface="YS Text Light" pitchFamily="2" charset="-52"/>
              </a:defRPr>
            </a:lvl1pPr>
            <a:lvl2pPr marL="360000" marR="0" indent="-359982" algn="l" defTabSz="9539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CC00"/>
              </a:buClr>
              <a:buSzPct val="120000"/>
              <a:buFont typeface="Arial Unicode MS" panose="020B0604020202020204" pitchFamily="34" charset="-128"/>
              <a:buChar char="▎"/>
              <a:tabLst/>
              <a:defRPr sz="2400" b="0">
                <a:latin typeface="YS Text Medium" pitchFamily="2" charset="-52"/>
              </a:defRPr>
            </a:lvl2pPr>
            <a:lvl3pPr marL="360000" marR="0" indent="-357982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50000"/>
              <a:buFont typeface="Yandex Sans Text Light" panose="02000000000000000000" pitchFamily="2" charset="-52"/>
              <a:buChar char="›"/>
              <a:tabLst/>
              <a:defRPr sz="2400">
                <a:latin typeface="YS Text Light" pitchFamily="2" charset="-52"/>
              </a:defRPr>
            </a:lvl3pPr>
            <a:lvl4pPr marL="360000" marR="0" indent="-357982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 sz="2400">
                <a:latin typeface="YS Text Light" pitchFamily="2" charset="-52"/>
              </a:defRPr>
            </a:lvl4pPr>
            <a:lvl5pPr marL="0" marR="0" indent="0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 sz="2400">
                <a:latin typeface="YS Text Light" pitchFamily="2" charset="-52"/>
              </a:defRPr>
            </a:lvl5pPr>
          </a:lstStyle>
          <a:p>
            <a:pPr marL="0" marR="0" lvl="0" indent="0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разец текста</a:t>
            </a:r>
          </a:p>
          <a:p>
            <a:pPr marL="0" marR="0" lvl="0" indent="0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0000" marR="0" lvl="1" indent="-359982" algn="l" defTabSz="9539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CC00"/>
              </a:buClr>
              <a:buSzPct val="120000"/>
              <a:buFont typeface="Arial Unicode MS" panose="020B0604020202020204" pitchFamily="34" charset="-128"/>
              <a:buChar char="▎"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Ключевая мысль</a:t>
            </a:r>
          </a:p>
          <a:p>
            <a:pPr marL="360000" marR="0" lvl="1" indent="-359982" algn="l" defTabSz="9539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CC00"/>
              </a:buClr>
              <a:buSzPct val="120000"/>
              <a:buFont typeface="Arial Unicode MS" panose="020B0604020202020204" pitchFamily="34" charset="-128"/>
              <a:buChar char="▎"/>
              <a:tabLst/>
              <a:defRPr/>
            </a:pPr>
            <a:endParaRPr kumimoji="0" lang="ru-RU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0000" marR="0" lvl="2" indent="-357982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50000"/>
              <a:buFont typeface="Yandex Sans Text Light" panose="02000000000000000000" pitchFamily="2" charset="-52"/>
              <a:buChar char="›"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аркированный список</a:t>
            </a:r>
          </a:p>
          <a:p>
            <a:pPr marL="360000" marR="0" lvl="2" indent="-357982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50000"/>
              <a:buFont typeface="Yandex Sans Text Light" panose="02000000000000000000" pitchFamily="2" charset="-52"/>
              <a:buChar char="›"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0000" marR="0" lvl="3" indent="-357982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умерованный список</a:t>
            </a:r>
          </a:p>
          <a:p>
            <a:pPr marL="360000" marR="0" lvl="3" indent="-357982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4" indent="0" algn="l" defTabSz="9143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013105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1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l">
              <a:lnSpc>
                <a:spcPct val="115000"/>
              </a:lnSpc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l">
              <a:lnSpc>
                <a:spcPct val="115000"/>
              </a:lnSpc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6" name="Google Shape;16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26133199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>
            <a:extLst>
              <a:ext uri="{FF2B5EF4-FFF2-40B4-BE49-F238E27FC236}">
                <a16:creationId xmlns:a16="http://schemas.microsoft.com/office/drawing/2014/main" id="{907A9965-9A63-9E42-AAE2-F5CD2547C3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225040" y="476116"/>
            <a:ext cx="3528696" cy="5905768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8" name="Рисунок 6">
            <a:extLst>
              <a:ext uri="{FF2B5EF4-FFF2-40B4-BE49-F238E27FC236}">
                <a16:creationId xmlns:a16="http://schemas.microsoft.com/office/drawing/2014/main" id="{A1A698C4-AD59-1E40-84CD-95CCC901023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38264" y="476250"/>
            <a:ext cx="3528696" cy="5905768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47665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6E59C7-3CC6-4C96-B663-42BEDC9911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B68E31-DDA7-4FFF-8EA6-9390C89A79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E1C6DF-8C55-4F14-9B8E-AD5DBE2C0C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90C76B-5CD6-4091-A5D9-F0AA8B9EF342}" type="datetimeFigureOut">
              <a:rPr lang="ru-RU" smtClean="0"/>
              <a:t>14.07.2020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423F5E-C97E-4378-A80C-9160BF4272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0E360-C715-4651-AA02-824B6F953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8CEC44-776C-400B-B495-B07985EFA18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3921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614122" y="1138743"/>
            <a:ext cx="10963757" cy="2759986"/>
          </a:xfrm>
          <a:prstGeom prst="rect">
            <a:avLst/>
          </a:prstGeom>
          <a:solidFill>
            <a:srgbClr val="004C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403" y="307946"/>
            <a:ext cx="1984010" cy="45971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30170" y="1099415"/>
            <a:ext cx="10515600" cy="1827898"/>
          </a:xfrm>
        </p:spPr>
        <p:txBody>
          <a:bodyPr anchor="b">
            <a:normAutofit/>
          </a:bodyPr>
          <a:lstStyle>
            <a:lvl1pPr algn="r">
              <a:defRPr sz="5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WO-LINE HEADLINE MAXIMUM HERE</a:t>
            </a:r>
            <a:endParaRPr lang="ru-RU"/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5771535" y="2833000"/>
            <a:ext cx="5671466" cy="1099906"/>
          </a:xfrm>
        </p:spPr>
        <p:txBody>
          <a:bodyPr>
            <a:noAutofit/>
          </a:bodyPr>
          <a:lstStyle>
            <a:lvl1pPr marL="0" indent="0" algn="r">
              <a:lnSpc>
                <a:spcPts val="3500"/>
              </a:lnSpc>
              <a:buNone/>
              <a:defRPr sz="3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WO-LINE SUBHEAD MAXIMUM HERE</a:t>
            </a:r>
            <a:endParaRPr lang="ru-RU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 flipH="1">
            <a:off x="8308779" y="4160155"/>
            <a:ext cx="3269100" cy="452432"/>
          </a:xfrm>
          <a:solidFill>
            <a:srgbClr val="004C97"/>
          </a:solidFill>
        </p:spPr>
        <p:txBody>
          <a:bodyPr wrap="none" lIns="164592" tIns="100584" rIns="164592" bIns="100584" anchor="ctr" anchorCtr="0">
            <a:spAutoFit/>
          </a:bodyPr>
          <a:lstStyle>
            <a:lvl1pPr marL="0" indent="0" algn="r">
              <a:buFontTx/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2pPr>
            <a:lvl3pPr marL="9144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3pPr>
            <a:lvl4pPr marL="13716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4pPr>
            <a:lvl5pPr marL="18288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introduction</a:t>
            </a:r>
          </a:p>
        </p:txBody>
      </p:sp>
    </p:spTree>
    <p:extLst>
      <p:ext uri="{BB962C8B-B14F-4D97-AF65-F5344CB8AC3E}">
        <p14:creationId xmlns:p14="http://schemas.microsoft.com/office/powerpoint/2010/main" val="3898997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614122" y="1138743"/>
            <a:ext cx="10963757" cy="2759986"/>
          </a:xfrm>
          <a:prstGeom prst="rect">
            <a:avLst/>
          </a:prstGeom>
          <a:solidFill>
            <a:srgbClr val="004C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403" y="307946"/>
            <a:ext cx="1984010" cy="45971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30170" y="1099415"/>
            <a:ext cx="10515600" cy="1827898"/>
          </a:xfrm>
        </p:spPr>
        <p:txBody>
          <a:bodyPr anchor="b">
            <a:normAutofit/>
          </a:bodyPr>
          <a:lstStyle>
            <a:lvl1pPr algn="r">
              <a:defRPr sz="5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WO-LINE HEADLINE MAXIMUM HERE</a:t>
            </a:r>
            <a:endParaRPr lang="ru-RU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 flipH="1">
            <a:off x="8308779" y="4160155"/>
            <a:ext cx="3269100" cy="452432"/>
          </a:xfrm>
          <a:solidFill>
            <a:srgbClr val="004C97"/>
          </a:solidFill>
        </p:spPr>
        <p:txBody>
          <a:bodyPr wrap="none" lIns="164592" tIns="100584" rIns="164592" bIns="100584" anchor="ctr" anchorCtr="0">
            <a:spAutoFit/>
          </a:bodyPr>
          <a:lstStyle>
            <a:lvl1pPr marL="0" indent="0" algn="r">
              <a:buFontTx/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2pPr>
            <a:lvl3pPr marL="9144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3pPr>
            <a:lvl4pPr marL="13716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4pPr>
            <a:lvl5pPr marL="18288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introduction</a:t>
            </a:r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5771535" y="2833000"/>
            <a:ext cx="5671466" cy="1099906"/>
          </a:xfrm>
        </p:spPr>
        <p:txBody>
          <a:bodyPr>
            <a:noAutofit/>
          </a:bodyPr>
          <a:lstStyle>
            <a:lvl1pPr marL="0" indent="0" algn="r">
              <a:lnSpc>
                <a:spcPts val="3500"/>
              </a:lnSpc>
              <a:buNone/>
              <a:defRPr sz="3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WO-LINE SUBHEAD MAXIMUM HER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846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раздел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614122" y="1138743"/>
            <a:ext cx="10963757" cy="2759986"/>
          </a:xfrm>
          <a:prstGeom prst="rect">
            <a:avLst/>
          </a:prstGeom>
          <a:solidFill>
            <a:srgbClr val="004C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403" y="307946"/>
            <a:ext cx="1984010" cy="45971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30170" y="1099415"/>
            <a:ext cx="10515600" cy="1827898"/>
          </a:xfrm>
        </p:spPr>
        <p:txBody>
          <a:bodyPr anchor="b">
            <a:normAutofit/>
          </a:bodyPr>
          <a:lstStyle>
            <a:lvl1pPr algn="r">
              <a:defRPr sz="5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WO-LINE HEADLINE MAXIMUM HERE</a:t>
            </a:r>
            <a:endParaRPr lang="ru-RU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0" hasCustomPrompt="1"/>
          </p:nvPr>
        </p:nvSpPr>
        <p:spPr>
          <a:xfrm flipH="1">
            <a:off x="8308779" y="4160155"/>
            <a:ext cx="3269100" cy="452432"/>
          </a:xfrm>
          <a:solidFill>
            <a:srgbClr val="004C97"/>
          </a:solidFill>
        </p:spPr>
        <p:txBody>
          <a:bodyPr wrap="none" lIns="164592" tIns="100584" rIns="164592" bIns="100584" anchor="ctr" anchorCtr="0">
            <a:spAutoFit/>
          </a:bodyPr>
          <a:lstStyle>
            <a:lvl1pPr marL="0" indent="0" algn="r">
              <a:buFontTx/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2pPr>
            <a:lvl3pPr marL="9144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3pPr>
            <a:lvl4pPr marL="13716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4pPr>
            <a:lvl5pPr marL="1828800" indent="0" algn="r">
              <a:buFontTx/>
              <a:buNone/>
              <a:defRPr sz="16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hapter introduction</a:t>
            </a:r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5771535" y="2833000"/>
            <a:ext cx="5671466" cy="1099906"/>
          </a:xfrm>
        </p:spPr>
        <p:txBody>
          <a:bodyPr>
            <a:noAutofit/>
          </a:bodyPr>
          <a:lstStyle>
            <a:lvl1pPr marL="0" indent="0" algn="r">
              <a:lnSpc>
                <a:spcPts val="3500"/>
              </a:lnSpc>
              <a:buNone/>
              <a:defRPr sz="3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TWO-LINE SUBHEAD MAXIMUM HER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10587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раздела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716594" y="3636139"/>
            <a:ext cx="7729176" cy="1827898"/>
          </a:xfrm>
        </p:spPr>
        <p:txBody>
          <a:bodyPr anchor="b">
            <a:noAutofit/>
          </a:bodyPr>
          <a:lstStyle>
            <a:lvl1pPr algn="r">
              <a:lnSpc>
                <a:spcPts val="5500"/>
              </a:lnSpc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HERE TO INSERT A QUOTATION OF YOUR CHOICE.”</a:t>
            </a:r>
            <a:endParaRPr lang="ru-RU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3" hasCustomPrompt="1"/>
          </p:nvPr>
        </p:nvSpPr>
        <p:spPr>
          <a:xfrm>
            <a:off x="5771535" y="5448380"/>
            <a:ext cx="5671466" cy="1099906"/>
          </a:xfrm>
        </p:spPr>
        <p:txBody>
          <a:bodyPr>
            <a:noAutofit/>
          </a:bodyPr>
          <a:lstStyle>
            <a:lvl1pPr marL="0" indent="0" algn="r">
              <a:lnSpc>
                <a:spcPts val="3500"/>
              </a:lnSpc>
              <a:buNone/>
              <a:defRPr sz="30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— QUOTE ATTRIBUTION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97394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993058"/>
            <a:ext cx="10515600" cy="766915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HEADLINE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986115"/>
            <a:ext cx="10515600" cy="39132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620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993058"/>
            <a:ext cx="10515600" cy="766915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HEADLINE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986115"/>
            <a:ext cx="10515600" cy="39132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968144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993058"/>
            <a:ext cx="10515600" cy="766915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HEADLINE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986115"/>
            <a:ext cx="10515600" cy="39132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5905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Заголовок и объект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993058"/>
            <a:ext cx="10515600" cy="766915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HEADLINE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986115"/>
            <a:ext cx="10515600" cy="39132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70755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CEB232-67FD-4F6F-AE29-73E154D40D49}" type="datetimeFigureOut">
              <a:rPr lang="ru-RU" smtClean="0"/>
              <a:t>14.07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D57A10-E531-453C-BB14-C32BE815D3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8177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60" r:id="rId3"/>
    <p:sldLayoutId id="2147483661" r:id="rId4"/>
    <p:sldLayoutId id="2147483662" r:id="rId5"/>
    <p:sldLayoutId id="2147483650" r:id="rId6"/>
    <p:sldLayoutId id="2147483664" r:id="rId7"/>
    <p:sldLayoutId id="2147483665" r:id="rId8"/>
    <p:sldLayoutId id="2147483666" r:id="rId9"/>
    <p:sldLayoutId id="2147483663" r:id="rId10"/>
    <p:sldLayoutId id="2147483655" r:id="rId11"/>
    <p:sldLayoutId id="2147483668" r:id="rId12"/>
    <p:sldLayoutId id="2147483673" r:id="rId13"/>
    <p:sldLayoutId id="2147483674" r:id="rId14"/>
    <p:sldLayoutId id="2147483676" r:id="rId15"/>
    <p:sldLayoutId id="2147483677" r:id="rId16"/>
    <p:sldLayoutId id="2147483678" r:id="rId17"/>
    <p:sldLayoutId id="2147483679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hyperlink" Target="http://drive.google.com/file/d/12VUNi2WwQGItq3uUPuhGyOaxGxMJxCrA/view" TargetMode="External"/><Relationship Id="rId3" Type="http://schemas.openxmlformats.org/officeDocument/2006/relationships/image" Target="../media/image60.png"/><Relationship Id="rId7" Type="http://schemas.openxmlformats.org/officeDocument/2006/relationships/image" Target="../media/image64.jpeg"/><Relationship Id="rId12" Type="http://schemas.openxmlformats.org/officeDocument/2006/relationships/image" Target="../media/image67.jpeg"/><Relationship Id="rId17" Type="http://schemas.openxmlformats.org/officeDocument/2006/relationships/image" Target="../media/image70.jpeg"/><Relationship Id="rId2" Type="http://schemas.openxmlformats.org/officeDocument/2006/relationships/notesSlide" Target="../notesSlides/notesSlide8.xml"/><Relationship Id="rId16" Type="http://schemas.openxmlformats.org/officeDocument/2006/relationships/hyperlink" Target="http://drive.google.com/file/d/1z2cT00sY6Iin3Al0X75R3Tg4KPRAr9gM/view" TargetMode="Externa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3.png"/><Relationship Id="rId11" Type="http://schemas.openxmlformats.org/officeDocument/2006/relationships/hyperlink" Target="http://drive.google.com/file/d/1Rs_vplkPRH2mSSF-ECKg3MrRIW5ZHNpP/view" TargetMode="External"/><Relationship Id="rId5" Type="http://schemas.openxmlformats.org/officeDocument/2006/relationships/image" Target="../media/image62.png"/><Relationship Id="rId15" Type="http://schemas.openxmlformats.org/officeDocument/2006/relationships/image" Target="../media/image69.png"/><Relationship Id="rId10" Type="http://schemas.openxmlformats.org/officeDocument/2006/relationships/image" Target="../media/image66.png"/><Relationship Id="rId4" Type="http://schemas.openxmlformats.org/officeDocument/2006/relationships/image" Target="../media/image61.png"/><Relationship Id="rId9" Type="http://schemas.openxmlformats.org/officeDocument/2006/relationships/image" Target="../media/image59.png"/><Relationship Id="rId14" Type="http://schemas.openxmlformats.org/officeDocument/2006/relationships/image" Target="../media/image6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video" Target="../media/media4.mp4"/><Relationship Id="rId13" Type="http://schemas.openxmlformats.org/officeDocument/2006/relationships/image" Target="../media/image75.png"/><Relationship Id="rId3" Type="http://schemas.microsoft.com/office/2007/relationships/media" Target="../media/media2.mp4"/><Relationship Id="rId7" Type="http://schemas.microsoft.com/office/2007/relationships/media" Target="../media/media4.mp4"/><Relationship Id="rId12" Type="http://schemas.openxmlformats.org/officeDocument/2006/relationships/image" Target="../media/image74.jpe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video" Target="../media/media3.mp4"/><Relationship Id="rId11" Type="http://schemas.openxmlformats.org/officeDocument/2006/relationships/image" Target="../media/image73.png"/><Relationship Id="rId5" Type="http://schemas.microsoft.com/office/2007/relationships/media" Target="../media/media3.mp4"/><Relationship Id="rId10" Type="http://schemas.openxmlformats.org/officeDocument/2006/relationships/image" Target="../media/image72.jpeg"/><Relationship Id="rId4" Type="http://schemas.openxmlformats.org/officeDocument/2006/relationships/video" Target="../media/media2.mp4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7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9.png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78.jpeg"/><Relationship Id="rId5" Type="http://schemas.openxmlformats.org/officeDocument/2006/relationships/image" Target="../media/image77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8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tiff"/><Relationship Id="rId18" Type="http://schemas.openxmlformats.org/officeDocument/2006/relationships/image" Target="../media/image29.png"/><Relationship Id="rId26" Type="http://schemas.openxmlformats.org/officeDocument/2006/relationships/image" Target="../media/image36.png"/><Relationship Id="rId3" Type="http://schemas.openxmlformats.org/officeDocument/2006/relationships/image" Target="../media/image15.jpeg"/><Relationship Id="rId21" Type="http://schemas.openxmlformats.org/officeDocument/2006/relationships/image" Target="../media/image31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microsoft.com/office/2007/relationships/hdphoto" Target="../media/hdphoto1.wdp"/><Relationship Id="rId25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8.png"/><Relationship Id="rId20" Type="http://schemas.openxmlformats.org/officeDocument/2006/relationships/image" Target="../media/image30.png"/><Relationship Id="rId29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24" Type="http://schemas.openxmlformats.org/officeDocument/2006/relationships/image" Target="../media/image34.png"/><Relationship Id="rId32" Type="http://schemas.microsoft.com/office/2007/relationships/hdphoto" Target="../media/hdphoto3.wdp"/><Relationship Id="rId5" Type="http://schemas.openxmlformats.org/officeDocument/2006/relationships/image" Target="../media/image17.png"/><Relationship Id="rId15" Type="http://schemas.openxmlformats.org/officeDocument/2006/relationships/image" Target="../media/image27.png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image" Target="../media/image22.png"/><Relationship Id="rId19" Type="http://schemas.microsoft.com/office/2007/relationships/hdphoto" Target="../media/hdphoto2.wdp"/><Relationship Id="rId31" Type="http://schemas.openxmlformats.org/officeDocument/2006/relationships/image" Target="../media/image41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tiff"/><Relationship Id="rId22" Type="http://schemas.openxmlformats.org/officeDocument/2006/relationships/image" Target="../media/image32.png"/><Relationship Id="rId27" Type="http://schemas.openxmlformats.org/officeDocument/2006/relationships/image" Target="../media/image37.png"/><Relationship Id="rId30" Type="http://schemas.openxmlformats.org/officeDocument/2006/relationships/image" Target="../media/image4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Natalya.Baskind@pepsico.com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9.jpeg"/><Relationship Id="rId4" Type="http://schemas.openxmlformats.org/officeDocument/2006/relationships/image" Target="../media/image4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tiff"/><Relationship Id="rId3" Type="http://schemas.openxmlformats.org/officeDocument/2006/relationships/image" Target="../media/image51.jpeg"/><Relationship Id="rId7" Type="http://schemas.openxmlformats.org/officeDocument/2006/relationships/image" Target="../media/image55.tiff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4.tiff"/><Relationship Id="rId5" Type="http://schemas.openxmlformats.org/officeDocument/2006/relationships/image" Target="../media/image53.tiff"/><Relationship Id="rId4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4000"/>
              <a:t>Изменение маркетинговых стратегий брендов под воздействием </a:t>
            </a:r>
            <a:r>
              <a:rPr lang="en-US" sz="4000"/>
              <a:t>CV-19</a:t>
            </a:r>
            <a:endParaRPr lang="ru-RU" sz="400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3"/>
          </p:nvPr>
        </p:nvSpPr>
        <p:spPr>
          <a:xfrm>
            <a:off x="3223846" y="3182474"/>
            <a:ext cx="8245370" cy="748214"/>
          </a:xfrm>
        </p:spPr>
        <p:txBody>
          <a:bodyPr/>
          <a:lstStyle/>
          <a:p>
            <a:r>
              <a:rPr lang="ru-RU" sz="2400"/>
              <a:t>Наталья </a:t>
            </a:r>
            <a:r>
              <a:rPr lang="ru-RU" sz="2400" err="1"/>
              <a:t>Баскинд</a:t>
            </a:r>
            <a:r>
              <a:rPr lang="ru-RU" sz="2400"/>
              <a:t>, </a:t>
            </a:r>
            <a:r>
              <a:rPr lang="en-US" sz="2400"/>
              <a:t>Digital &amp; Ecommerce Director PepsiCo</a:t>
            </a:r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3072444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" name="Google Shape;126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5" y="88"/>
            <a:ext cx="12191847" cy="6857913"/>
          </a:xfrm>
          <a:prstGeom prst="rect">
            <a:avLst/>
          </a:prstGeom>
          <a:noFill/>
          <a:ln>
            <a:noFill/>
          </a:ln>
        </p:spPr>
      </p:pic>
      <p:sp>
        <p:nvSpPr>
          <p:cNvPr id="127" name="Google Shape;127;p3"/>
          <p:cNvSpPr txBox="1">
            <a:spLocks noGrp="1"/>
          </p:cNvSpPr>
          <p:nvPr>
            <p:ph type="title"/>
          </p:nvPr>
        </p:nvSpPr>
        <p:spPr>
          <a:xfrm>
            <a:off x="3959955" y="950285"/>
            <a:ext cx="5070187" cy="83193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r>
              <a:rPr lang="ru" sz="2800" b="1">
                <a:solidFill>
                  <a:srgbClr val="C00000"/>
                </a:solidFill>
                <a:latin typeface="Montserrat"/>
                <a:sym typeface="Montserrat"/>
              </a:rPr>
              <a:t>Lay's благодарит социально ответственных потребителей</a:t>
            </a:r>
            <a:endParaRPr sz="2800" b="1">
              <a:solidFill>
                <a:srgbClr val="C00000"/>
              </a:solidFill>
              <a:latin typeface="Montserrat"/>
              <a:sym typeface="Montserrat"/>
            </a:endParaRPr>
          </a:p>
        </p:txBody>
      </p:sp>
      <p:sp>
        <p:nvSpPr>
          <p:cNvPr id="128" name="Google Shape;128;p3"/>
          <p:cNvSpPr/>
          <p:nvPr/>
        </p:nvSpPr>
        <p:spPr>
          <a:xfrm>
            <a:off x="5939760" y="3223817"/>
            <a:ext cx="312480" cy="4103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ru" sz="18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8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9" name="Google Shape;129;p3"/>
          <p:cNvSpPr txBox="1"/>
          <p:nvPr/>
        </p:nvSpPr>
        <p:spPr>
          <a:xfrm>
            <a:off x="4052455" y="2150321"/>
            <a:ext cx="4509654" cy="226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lvl="0">
              <a:buSzPts val="1100"/>
            </a:pP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Благодаря коллаборации с сервисом такси мы упрощаем формат бесконтактной доставки и помогаем водителям в нелегкое время, обеспечив таксопарки в 14 городах России</a:t>
            </a:r>
            <a:r>
              <a:rPr lang="en-US" sz="1400">
                <a:solidFill>
                  <a:schemeClr val="dk1"/>
                </a:solidFill>
                <a:latin typeface="Montserrat"/>
                <a:sym typeface="Montserrat"/>
              </a:rPr>
              <a:t> </a:t>
            </a:r>
          </a:p>
          <a:p>
            <a:pPr lvl="0">
              <a:buSzPts val="1100"/>
            </a:pP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более чем 8 000 дополнительных заказов, которые </a:t>
            </a:r>
            <a:r>
              <a:rPr lang="ru-RU" sz="1400" err="1">
                <a:solidFill>
                  <a:schemeClr val="dk1"/>
                </a:solidFill>
                <a:latin typeface="Montserrat"/>
                <a:sym typeface="Montserrat"/>
              </a:rPr>
              <a:t>Lay’s</a:t>
            </a: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 берет на себя!</a:t>
            </a:r>
            <a:endParaRPr sz="1400">
              <a:solidFill>
                <a:schemeClr val="dk1"/>
              </a:solidFill>
              <a:latin typeface="Montserrat"/>
              <a:sym typeface="Montserrat Light"/>
            </a:endParaRPr>
          </a:p>
          <a:p>
            <a:pPr>
              <a:buClr>
                <a:srgbClr val="000000"/>
              </a:buClr>
              <a:buSzPts val="1400"/>
            </a:pPr>
            <a:endParaRPr sz="1600">
              <a:solidFill>
                <a:srgbClr val="666666"/>
              </a:solidFill>
              <a:latin typeface="Montserrat Light"/>
              <a:ea typeface="Montserrat Light"/>
              <a:cs typeface="Montserrat Light"/>
              <a:sym typeface="Montserrat Light"/>
            </a:endParaRPr>
          </a:p>
        </p:txBody>
      </p:sp>
      <p:sp>
        <p:nvSpPr>
          <p:cNvPr id="130" name="Google Shape;130;p3"/>
          <p:cNvSpPr/>
          <p:nvPr/>
        </p:nvSpPr>
        <p:spPr>
          <a:xfrm>
            <a:off x="3959955" y="4344033"/>
            <a:ext cx="3998712" cy="18408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lvl="0">
              <a:lnSpc>
                <a:spcPct val="115000"/>
              </a:lnSpc>
              <a:buSzPts val="1100"/>
            </a:pP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1. в </a:t>
            </a:r>
            <a:r>
              <a:rPr lang="ru-RU" sz="1400" err="1">
                <a:solidFill>
                  <a:schemeClr val="dk1"/>
                </a:solidFill>
                <a:latin typeface="Montserrat"/>
                <a:sym typeface="Montserrat"/>
              </a:rPr>
              <a:t>Instagram</a:t>
            </a: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 мы находим публикации за период с 23 марта по 30 апреля с #</a:t>
            </a:r>
            <a:r>
              <a:rPr lang="ru-RU" sz="1400" err="1">
                <a:solidFill>
                  <a:schemeClr val="dk1"/>
                </a:solidFill>
                <a:latin typeface="Montserrat"/>
                <a:sym typeface="Montserrat"/>
              </a:rPr>
              <a:t>сидимдома</a:t>
            </a: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 # </a:t>
            </a:r>
            <a:r>
              <a:rPr lang="ru-RU" sz="1400" err="1">
                <a:solidFill>
                  <a:schemeClr val="dk1"/>
                </a:solidFill>
                <a:latin typeface="Montserrat"/>
                <a:sym typeface="Montserrat"/>
              </a:rPr>
              <a:t>оставайтесьдома</a:t>
            </a: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 #</a:t>
            </a:r>
            <a:r>
              <a:rPr lang="ru-RU" sz="1400" err="1">
                <a:solidFill>
                  <a:schemeClr val="dk1"/>
                </a:solidFill>
                <a:latin typeface="Montserrat"/>
                <a:sym typeface="Montserrat"/>
              </a:rPr>
              <a:t>лучшедома</a:t>
            </a:r>
            <a:endParaRPr lang="ru-RU" sz="1400">
              <a:solidFill>
                <a:schemeClr val="dk1"/>
              </a:solidFill>
              <a:latin typeface="Montserrat"/>
              <a:sym typeface="Montserrat"/>
            </a:endParaRPr>
          </a:p>
          <a:p>
            <a:pPr lvl="0">
              <a:lnSpc>
                <a:spcPct val="115000"/>
              </a:lnSpc>
              <a:buSzPts val="1100"/>
            </a:pP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2. Затем мы связываемся с авторами</a:t>
            </a:r>
          </a:p>
          <a:p>
            <a:pPr lvl="0">
              <a:lnSpc>
                <a:spcPct val="115000"/>
              </a:lnSpc>
              <a:buSzPts val="1100"/>
            </a:pPr>
            <a:r>
              <a:rPr lang="en-US" sz="1400">
                <a:solidFill>
                  <a:schemeClr val="dk1"/>
                </a:solidFill>
                <a:latin typeface="Montserrat"/>
                <a:sym typeface="Montserrat"/>
              </a:rPr>
              <a:t>3</a:t>
            </a: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. Передаем заказ в службу такси </a:t>
            </a:r>
            <a:r>
              <a:rPr lang="ru-RU" sz="1400" err="1">
                <a:solidFill>
                  <a:schemeClr val="dk1"/>
                </a:solidFill>
                <a:latin typeface="Montserrat"/>
                <a:sym typeface="Montserrat"/>
              </a:rPr>
              <a:t>Citymobil</a:t>
            </a:r>
            <a:r>
              <a:rPr lang="ru-RU" sz="1400">
                <a:solidFill>
                  <a:schemeClr val="dk1"/>
                </a:solidFill>
                <a:latin typeface="Montserrat"/>
                <a:sym typeface="Montserrat"/>
              </a:rPr>
              <a:t> для осуществления бесконтактной  доставки подарочного бокса  </a:t>
            </a:r>
          </a:p>
        </p:txBody>
      </p:sp>
      <p:sp>
        <p:nvSpPr>
          <p:cNvPr id="131" name="Google Shape;131;p3"/>
          <p:cNvSpPr txBox="1"/>
          <p:nvPr/>
        </p:nvSpPr>
        <p:spPr>
          <a:xfrm>
            <a:off x="4100570" y="3796977"/>
            <a:ext cx="4000000" cy="523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2400" b="1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Механика</a:t>
            </a:r>
            <a:endParaRPr sz="2400" b="1">
              <a:solidFill>
                <a:srgbClr val="C00000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32" name="Google Shape;132;p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448287" y="91620"/>
            <a:ext cx="638967" cy="60373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4002778-6489-464C-AA51-B35EF4B9D329}"/>
              </a:ext>
            </a:extLst>
          </p:cNvPr>
          <p:cNvSpPr/>
          <p:nvPr/>
        </p:nvSpPr>
        <p:spPr>
          <a:xfrm>
            <a:off x="251927" y="6344816"/>
            <a:ext cx="6656873" cy="4215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30C93F3-5E0A-4B8A-A776-97D4D68801EB}"/>
              </a:ext>
            </a:extLst>
          </p:cNvPr>
          <p:cNvSpPr/>
          <p:nvPr/>
        </p:nvSpPr>
        <p:spPr>
          <a:xfrm>
            <a:off x="9030142" y="6310668"/>
            <a:ext cx="3057112" cy="4215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2187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FF71FA5E-FFBA-47A8-875A-7C99917B48F8}"/>
              </a:ext>
            </a:extLst>
          </p:cNvPr>
          <p:cNvSpPr/>
          <p:nvPr/>
        </p:nvSpPr>
        <p:spPr>
          <a:xfrm>
            <a:off x="109675" y="223604"/>
            <a:ext cx="5498023" cy="4059112"/>
          </a:xfrm>
          <a:prstGeom prst="rect">
            <a:avLst/>
          </a:prstGeom>
          <a:solidFill>
            <a:srgbClr val="FFE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9" name="Google Shape;269;g77a08f39d9_7_137"/>
          <p:cNvSpPr/>
          <p:nvPr/>
        </p:nvSpPr>
        <p:spPr>
          <a:xfrm>
            <a:off x="5850567" y="3275233"/>
            <a:ext cx="6098400" cy="2962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270" name="Google Shape;270;g77a08f39d9_7_137"/>
          <p:cNvSpPr/>
          <p:nvPr/>
        </p:nvSpPr>
        <p:spPr>
          <a:xfrm>
            <a:off x="296819" y="1911884"/>
            <a:ext cx="4716932" cy="4928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cxnSp>
        <p:nvCxnSpPr>
          <p:cNvPr id="271" name="Google Shape;271;g77a08f39d9_7_137"/>
          <p:cNvCxnSpPr/>
          <p:nvPr/>
        </p:nvCxnSpPr>
        <p:spPr>
          <a:xfrm flipH="1">
            <a:off x="2266467" y="2354600"/>
            <a:ext cx="1726800" cy="1074400"/>
          </a:xfrm>
          <a:prstGeom prst="straightConnector1">
            <a:avLst/>
          </a:prstGeom>
          <a:noFill/>
          <a:ln>
            <a:noFill/>
          </a:ln>
        </p:spPr>
      </p:cxnSp>
      <p:sp>
        <p:nvSpPr>
          <p:cNvPr id="272" name="Google Shape;272;g77a08f39d9_7_137"/>
          <p:cNvSpPr/>
          <p:nvPr/>
        </p:nvSpPr>
        <p:spPr>
          <a:xfrm>
            <a:off x="277035" y="397233"/>
            <a:ext cx="4978800" cy="1193083"/>
          </a:xfrm>
          <a:prstGeom prst="rect">
            <a:avLst/>
          </a:prstGeom>
          <a:noFill/>
          <a:ln>
            <a:noFill/>
          </a:ln>
          <a:effectLst>
            <a:outerShdw blurRad="152400" dist="317500" dir="5400000" sx="90000" sy="-19000" rotWithShape="0">
              <a:srgbClr val="000000">
                <a:alpha val="14120"/>
              </a:srgbClr>
            </a:outerShdw>
          </a:effectLst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chemeClr val="dk1"/>
              </a:buClr>
              <a:buSzPts val="2400"/>
            </a:pPr>
            <a:r>
              <a:rPr lang="ru" sz="3467" b="1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8 000 </a:t>
            </a:r>
            <a:r>
              <a:rPr lang="ru-RU" sz="3467" b="1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счастливчиков получили </a:t>
            </a:r>
            <a:r>
              <a:rPr lang="en-US" sz="3467" b="1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Lay’s </a:t>
            </a:r>
            <a:r>
              <a:rPr lang="ru-RU" sz="3467" b="1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Бокс</a:t>
            </a:r>
            <a:endParaRPr sz="3467" b="1">
              <a:solidFill>
                <a:srgbClr val="ED1C24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74" name="Google Shape;274;g77a08f39d9_7_13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24761" y="4282750"/>
            <a:ext cx="2708255" cy="198810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75" name="Google Shape;275;g77a08f39d9_7_137"/>
          <p:cNvGrpSpPr/>
          <p:nvPr/>
        </p:nvGrpSpPr>
        <p:grpSpPr>
          <a:xfrm>
            <a:off x="238781" y="4282715"/>
            <a:ext cx="2885971" cy="1988168"/>
            <a:chOff x="6852571" y="769967"/>
            <a:chExt cx="2081229" cy="1433775"/>
          </a:xfrm>
        </p:grpSpPr>
        <p:pic>
          <p:nvPicPr>
            <p:cNvPr id="276" name="Google Shape;276;g77a08f39d9_7_137"/>
            <p:cNvPicPr preferRelativeResize="0"/>
            <p:nvPr/>
          </p:nvPicPr>
          <p:blipFill rotWithShape="1">
            <a:blip r:embed="rId4">
              <a:alphaModFix/>
            </a:blip>
            <a:srcRect t="2722" r="1370" b="752"/>
            <a:stretch/>
          </p:blipFill>
          <p:spPr>
            <a:xfrm>
              <a:off x="6852571" y="769967"/>
              <a:ext cx="2081228" cy="143377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77" name="Google Shape;277;g77a08f39d9_7_137"/>
            <p:cNvPicPr preferRelativeResize="0"/>
            <p:nvPr/>
          </p:nvPicPr>
          <p:blipFill rotWithShape="1">
            <a:blip r:embed="rId5">
              <a:alphaModFix/>
            </a:blip>
            <a:srcRect l="1272" t="1434" r="3042" b="24981"/>
            <a:stretch/>
          </p:blipFill>
          <p:spPr>
            <a:xfrm>
              <a:off x="8219425" y="1819741"/>
              <a:ext cx="714375" cy="366247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78" name="Google Shape;278;g77a08f39d9_7_137"/>
          <p:cNvPicPr preferRelativeResize="0"/>
          <p:nvPr/>
        </p:nvPicPr>
        <p:blipFill rotWithShape="1">
          <a:blip r:embed="rId6">
            <a:alphaModFix/>
          </a:blip>
          <a:srcRect r="41870"/>
          <a:stretch/>
        </p:blipFill>
        <p:spPr>
          <a:xfrm rot="31">
            <a:off x="9158617" y="229980"/>
            <a:ext cx="2889535" cy="37092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9" name="Google Shape;279;g77a08f39d9_7_137"/>
          <p:cNvPicPr preferRelativeResize="0"/>
          <p:nvPr/>
        </p:nvPicPr>
        <p:blipFill rotWithShape="1">
          <a:blip r:embed="rId7">
            <a:alphaModFix/>
          </a:blip>
          <a:srcRect l="2040" t="7765" r="46172" b="10495"/>
          <a:stretch/>
        </p:blipFill>
        <p:spPr>
          <a:xfrm>
            <a:off x="7619093" y="223604"/>
            <a:ext cx="1539512" cy="3067265"/>
          </a:xfrm>
          <a:prstGeom prst="rect">
            <a:avLst/>
          </a:prstGeom>
          <a:noFill/>
          <a:ln>
            <a:noFill/>
          </a:ln>
        </p:spPr>
      </p:pic>
      <p:pic>
        <p:nvPicPr>
          <p:cNvPr id="280" name="Google Shape;280;g77a08f39d9_7_137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5318699" y="236967"/>
            <a:ext cx="2300400" cy="3280372"/>
          </a:xfrm>
          <a:prstGeom prst="rect">
            <a:avLst/>
          </a:prstGeom>
          <a:noFill/>
          <a:ln>
            <a:noFill/>
          </a:ln>
        </p:spPr>
      </p:pic>
      <p:sp>
        <p:nvSpPr>
          <p:cNvPr id="281" name="Google Shape;281;g77a08f39d9_7_137"/>
          <p:cNvSpPr txBox="1"/>
          <p:nvPr/>
        </p:nvSpPr>
        <p:spPr>
          <a:xfrm>
            <a:off x="3435283" y="1807467"/>
            <a:ext cx="1578467" cy="54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>
              <a:buClr>
                <a:srgbClr val="000000"/>
              </a:buClr>
              <a:buSzPts val="1100"/>
            </a:pPr>
            <a:r>
              <a:rPr lang="en-US" sz="3200" b="1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&gt;</a:t>
            </a:r>
            <a:r>
              <a:rPr lang="ru" sz="3200" b="1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3 651</a:t>
            </a:r>
            <a:endParaRPr sz="3867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2" name="Google Shape;282;g77a08f39d9_7_137"/>
          <p:cNvSpPr txBox="1"/>
          <p:nvPr/>
        </p:nvSpPr>
        <p:spPr>
          <a:xfrm>
            <a:off x="238781" y="1911900"/>
            <a:ext cx="3295704" cy="49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-RU" sz="16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Выложили контент в </a:t>
            </a:r>
            <a:r>
              <a:rPr lang="ru-RU" sz="1600" err="1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соц</a:t>
            </a:r>
            <a:r>
              <a:rPr lang="ru-RU" sz="1600">
                <a:solidFill>
                  <a:srgbClr val="FFFFFF"/>
                </a:solidFill>
                <a:latin typeface="Montserrat"/>
                <a:ea typeface="Montserrat"/>
                <a:cs typeface="Montserrat"/>
                <a:sym typeface="Montserrat"/>
              </a:rPr>
              <a:t> сетях</a:t>
            </a:r>
            <a:endParaRPr sz="2400"/>
          </a:p>
        </p:txBody>
      </p:sp>
      <p:pic>
        <p:nvPicPr>
          <p:cNvPr id="283" name="Google Shape;283;g77a08f39d9_7_137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1448287" y="91620"/>
            <a:ext cx="638967" cy="603733"/>
          </a:xfrm>
          <a:prstGeom prst="rect">
            <a:avLst/>
          </a:prstGeom>
          <a:noFill/>
          <a:ln>
            <a:noFill/>
          </a:ln>
        </p:spPr>
      </p:pic>
      <p:pic>
        <p:nvPicPr>
          <p:cNvPr id="284" name="Google Shape;284;g77a08f39d9_7_137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1300400" y="2158300"/>
            <a:ext cx="891600" cy="1718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85" name="Google Shape;285;g77a08f39d9_7_137" title="15.46.mp4">
            <a:hlinkClick r:id="rId11"/>
          </p:cNvPr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9615834" y="3867134"/>
            <a:ext cx="2432333" cy="2403733"/>
          </a:xfrm>
          <a:prstGeom prst="rect">
            <a:avLst/>
          </a:prstGeom>
          <a:noFill/>
          <a:ln>
            <a:noFill/>
          </a:ln>
        </p:spPr>
      </p:pic>
      <p:pic>
        <p:nvPicPr>
          <p:cNvPr id="286" name="Google Shape;286;g77a08f39d9_7_137" title="22.10.mp4">
            <a:hlinkClick r:id="rId13"/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5318700" y="3414102"/>
            <a:ext cx="2300400" cy="2870833"/>
          </a:xfrm>
          <a:prstGeom prst="rect">
            <a:avLst/>
          </a:prstGeom>
          <a:noFill/>
          <a:ln>
            <a:noFill/>
          </a:ln>
        </p:spPr>
      </p:pic>
      <p:pic>
        <p:nvPicPr>
          <p:cNvPr id="287" name="Google Shape;287;g77a08f39d9_7_137"/>
          <p:cNvPicPr preferRelativeResize="0"/>
          <p:nvPr/>
        </p:nvPicPr>
        <p:blipFill rotWithShape="1">
          <a:blip r:embed="rId15">
            <a:alphaModFix/>
          </a:blip>
          <a:srcRect b="10554"/>
          <a:stretch/>
        </p:blipFill>
        <p:spPr>
          <a:xfrm>
            <a:off x="7329833" y="2863701"/>
            <a:ext cx="2776867" cy="4088068"/>
          </a:xfrm>
          <a:prstGeom prst="rect">
            <a:avLst/>
          </a:prstGeom>
          <a:noFill/>
          <a:ln>
            <a:noFill/>
          </a:ln>
        </p:spPr>
      </p:pic>
      <p:pic>
        <p:nvPicPr>
          <p:cNvPr id="288" name="Google Shape;288;g77a08f39d9_7_137" title="WhatsApp Video 2020-04-29 at 22.01.04.mp4">
            <a:hlinkClick r:id="rId16"/>
          </p:cNvPr>
          <p:cNvPicPr preferRelativeResize="0"/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7735833" y="3429001"/>
            <a:ext cx="1984200" cy="3418367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Google Shape;272;g77a08f39d9_7_137">
            <a:extLst>
              <a:ext uri="{FF2B5EF4-FFF2-40B4-BE49-F238E27FC236}">
                <a16:creationId xmlns:a16="http://schemas.microsoft.com/office/drawing/2014/main" id="{F1DC0906-EB08-42CB-9B53-0C404A6AAC70}"/>
              </a:ext>
            </a:extLst>
          </p:cNvPr>
          <p:cNvSpPr/>
          <p:nvPr/>
        </p:nvSpPr>
        <p:spPr>
          <a:xfrm>
            <a:off x="296819" y="2706926"/>
            <a:ext cx="4978800" cy="1193083"/>
          </a:xfrm>
          <a:prstGeom prst="rect">
            <a:avLst/>
          </a:prstGeom>
          <a:noFill/>
          <a:ln>
            <a:noFill/>
          </a:ln>
          <a:effectLst>
            <a:outerShdw blurRad="152400" dist="317500" dir="5400000" sx="90000" sy="-19000" rotWithShape="0">
              <a:srgbClr val="000000">
                <a:alpha val="14120"/>
              </a:srgbClr>
            </a:outerShdw>
          </a:effectLst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>
              <a:buClr>
                <a:schemeClr val="dk1"/>
              </a:buClr>
              <a:buSzPts val="2400"/>
            </a:pPr>
            <a:r>
              <a:rPr lang="ru-RU" sz="3467" b="1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А наш </a:t>
            </a:r>
            <a:r>
              <a:rPr lang="en-US" sz="3467" b="1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IG</a:t>
            </a:r>
            <a:r>
              <a:rPr lang="ru-RU" sz="3467" b="1">
                <a:solidFill>
                  <a:srgbClr val="C00000"/>
                </a:solidFill>
                <a:latin typeface="Montserrat"/>
                <a:ea typeface="Montserrat"/>
                <a:cs typeface="Montserrat"/>
                <a:sym typeface="Montserrat"/>
              </a:rPr>
              <a:t> вырос на 62 000 подписчиков!</a:t>
            </a:r>
            <a:endParaRPr sz="3467" b="1">
              <a:solidFill>
                <a:srgbClr val="ED1C24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381696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F64483-480C-41E5-A035-B6A059675DCF}"/>
              </a:ext>
            </a:extLst>
          </p:cNvPr>
          <p:cNvSpPr/>
          <p:nvPr/>
        </p:nvSpPr>
        <p:spPr>
          <a:xfrm>
            <a:off x="-93306" y="0"/>
            <a:ext cx="12285306" cy="6858000"/>
          </a:xfrm>
          <a:prstGeom prst="rect">
            <a:avLst/>
          </a:prstGeom>
          <a:solidFill>
            <a:srgbClr val="0245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4" descr="A picture containing game&#10;&#10;Description automatically generated">
            <a:extLst>
              <a:ext uri="{FF2B5EF4-FFF2-40B4-BE49-F238E27FC236}">
                <a16:creationId xmlns:a16="http://schemas.microsoft.com/office/drawing/2014/main" id="{39920EC6-DABD-4669-AFD4-D8B5FA9FE2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62210">
            <a:off x="707099" y="625151"/>
            <a:ext cx="5607699" cy="5607699"/>
          </a:xfrm>
          <a:prstGeom prst="rect">
            <a:avLst/>
          </a:prstGeom>
          <a:ln w="41275">
            <a:solidFill>
              <a:srgbClr val="9BCCF4"/>
            </a:solidFill>
          </a:ln>
        </p:spPr>
      </p:pic>
      <p:sp>
        <p:nvSpPr>
          <p:cNvPr id="8" name="Title 4">
            <a:extLst>
              <a:ext uri="{FF2B5EF4-FFF2-40B4-BE49-F238E27FC236}">
                <a16:creationId xmlns:a16="http://schemas.microsoft.com/office/drawing/2014/main" id="{D8D21F2E-3A5C-4745-8EEF-5D1EACB5B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834" y="2271796"/>
            <a:ext cx="4373166" cy="18278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#</a:t>
            </a:r>
            <a:r>
              <a:rPr lang="ru-RU" err="1">
                <a:solidFill>
                  <a:schemeClr val="bg1"/>
                </a:solidFill>
              </a:rPr>
              <a:t>ЯвДомике</a:t>
            </a:r>
            <a:endParaRPr lang="ru-RU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5470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5A726BC-9A47-4EAC-B95E-55D6D3C99C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30184" y="0"/>
            <a:ext cx="6274741" cy="806800"/>
          </a:xfrm>
        </p:spPr>
        <p:txBody>
          <a:bodyPr/>
          <a:lstStyle/>
          <a:p>
            <a:r>
              <a:rPr lang="ru-RU" sz="1467"/>
              <a:t>  </a:t>
            </a:r>
            <a:r>
              <a:rPr lang="en-US" sz="1467"/>
              <a:t>    </a:t>
            </a:r>
            <a:r>
              <a:rPr lang="ru-RU" sz="1467"/>
              <a:t>     </a:t>
            </a:r>
            <a:r>
              <a:rPr lang="en-US" sz="1467"/>
              <a:t>Video #1                                                          Video #2</a:t>
            </a:r>
            <a:endParaRPr lang="ru-RU" sz="1467"/>
          </a:p>
        </p:txBody>
      </p:sp>
      <p:pic>
        <p:nvPicPr>
          <p:cNvPr id="4" name="Agusha_Stayhome_1">
            <a:hlinkClick r:id="" action="ppaction://media"/>
            <a:extLst>
              <a:ext uri="{FF2B5EF4-FFF2-40B4-BE49-F238E27FC236}">
                <a16:creationId xmlns:a16="http://schemas.microsoft.com/office/drawing/2014/main" id="{67B8019C-5EB0-46CA-BB3E-76A088AE0A6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4462168" y="740701"/>
            <a:ext cx="2640000" cy="2640000"/>
          </a:xfrm>
          <a:prstGeom prst="rect">
            <a:avLst/>
          </a:prstGeom>
        </p:spPr>
      </p:pic>
      <p:pic>
        <p:nvPicPr>
          <p:cNvPr id="6" name="Google Shape;97;p15">
            <a:extLst>
              <a:ext uri="{FF2B5EF4-FFF2-40B4-BE49-F238E27FC236}">
                <a16:creationId xmlns:a16="http://schemas.microsoft.com/office/drawing/2014/main" id="{1E8D65A9-398C-4ABF-A672-B7F5DE056585}"/>
              </a:ext>
            </a:extLst>
          </p:cNvPr>
          <p:cNvPicPr preferRelativeResize="0"/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812"/>
          <a:stretch/>
        </p:blipFill>
        <p:spPr>
          <a:xfrm>
            <a:off x="774919" y="2564905"/>
            <a:ext cx="2649736" cy="1076655"/>
          </a:xfrm>
          <a:prstGeom prst="rect">
            <a:avLst/>
          </a:prstGeom>
          <a:noFill/>
        </p:spPr>
      </p:pic>
      <p:pic>
        <p:nvPicPr>
          <p:cNvPr id="3" name="ya_v_domike_2">
            <a:hlinkClick r:id="" action="ppaction://media"/>
            <a:extLst>
              <a:ext uri="{FF2B5EF4-FFF2-40B4-BE49-F238E27FC236}">
                <a16:creationId xmlns:a16="http://schemas.microsoft.com/office/drawing/2014/main" id="{BB3FECA6-26DC-498C-912E-94E3C33D3426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8071440" y="740701"/>
            <a:ext cx="2640000" cy="2640000"/>
          </a:xfrm>
          <a:prstGeom prst="rect">
            <a:avLst/>
          </a:prstGeom>
        </p:spPr>
      </p:pic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7EF35FE0-E645-42BC-BD0D-7E714D8BEC58}"/>
              </a:ext>
            </a:extLst>
          </p:cNvPr>
          <p:cNvSpPr txBox="1">
            <a:spLocks/>
          </p:cNvSpPr>
          <p:nvPr/>
        </p:nvSpPr>
        <p:spPr>
          <a:xfrm>
            <a:off x="4411864" y="3332989"/>
            <a:ext cx="6274741" cy="80680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Arial" panose="020B0604020202020204" pitchFamily="34" charset="0"/>
              <a:buNone/>
              <a:defRPr sz="1467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           Video #3                                                         Video #</a:t>
            </a:r>
            <a:r>
              <a:rPr lang="ru-RU" dirty="0"/>
              <a:t>4</a:t>
            </a:r>
          </a:p>
        </p:txBody>
      </p:sp>
      <p:sp>
        <p:nvSpPr>
          <p:cNvPr id="12" name="Google Shape;86;p14">
            <a:extLst>
              <a:ext uri="{FF2B5EF4-FFF2-40B4-BE49-F238E27FC236}">
                <a16:creationId xmlns:a16="http://schemas.microsoft.com/office/drawing/2014/main" id="{9A36085A-9007-4D28-9F60-ADF8B39EA2BC}"/>
              </a:ext>
            </a:extLst>
          </p:cNvPr>
          <p:cNvSpPr txBox="1">
            <a:spLocks/>
          </p:cNvSpPr>
          <p:nvPr/>
        </p:nvSpPr>
        <p:spPr>
          <a:xfrm>
            <a:off x="1066387" y="3803941"/>
            <a:ext cx="2066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1219170"/>
            <a:r>
              <a:rPr lang="en-US" sz="3733" b="1" kern="0">
                <a:solidFill>
                  <a:srgbClr val="084A8B"/>
                </a:solidFill>
                <a:latin typeface="Montserrat"/>
                <a:ea typeface="Montserrat"/>
                <a:cs typeface="Montserrat"/>
                <a:sym typeface="Montserrat"/>
              </a:rPr>
              <a:t>Video</a:t>
            </a:r>
          </a:p>
        </p:txBody>
      </p:sp>
      <p:pic>
        <p:nvPicPr>
          <p:cNvPr id="5" name="video 3">
            <a:hlinkClick r:id="" action="ppaction://media"/>
            <a:extLst>
              <a:ext uri="{FF2B5EF4-FFF2-40B4-BE49-F238E27FC236}">
                <a16:creationId xmlns:a16="http://schemas.microsoft.com/office/drawing/2014/main" id="{330459F2-AE54-4479-813A-136A0543675B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4430184" y="3927592"/>
            <a:ext cx="2640000" cy="2640000"/>
          </a:xfrm>
          <a:prstGeom prst="rect">
            <a:avLst/>
          </a:prstGeom>
        </p:spPr>
      </p:pic>
      <p:pic>
        <p:nvPicPr>
          <p:cNvPr id="13" name="video 4 final version  (1)">
            <a:hlinkClick r:id="" action="ppaction://media"/>
            <a:extLst>
              <a:ext uri="{FF2B5EF4-FFF2-40B4-BE49-F238E27FC236}">
                <a16:creationId xmlns:a16="http://schemas.microsoft.com/office/drawing/2014/main" id="{2220D067-5C80-45D8-8224-36524C987C73}"/>
              </a:ext>
            </a:extLst>
          </p:cNvPr>
          <p:cNvPicPr>
            <a:picLocks noChangeAspect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8071440" y="3955312"/>
            <a:ext cx="2640001" cy="2640001"/>
          </a:xfrm>
          <a:prstGeom prst="rect">
            <a:avLst/>
          </a:prstGeom>
        </p:spPr>
      </p:pic>
      <p:sp>
        <p:nvSpPr>
          <p:cNvPr id="7" name="Google Shape;86;p14">
            <a:extLst>
              <a:ext uri="{FF2B5EF4-FFF2-40B4-BE49-F238E27FC236}">
                <a16:creationId xmlns:a16="http://schemas.microsoft.com/office/drawing/2014/main" id="{D0361AF9-CC35-4A8A-9AB4-4457276605E2}"/>
              </a:ext>
            </a:extLst>
          </p:cNvPr>
          <p:cNvSpPr txBox="1">
            <a:spLocks/>
          </p:cNvSpPr>
          <p:nvPr/>
        </p:nvSpPr>
        <p:spPr>
          <a:xfrm>
            <a:off x="184532" y="4511713"/>
            <a:ext cx="4071853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1219170"/>
            <a:r>
              <a:rPr lang="en-US" sz="3733" b="1" kern="0">
                <a:solidFill>
                  <a:srgbClr val="084A8B"/>
                </a:solidFill>
                <a:latin typeface="Montserrat"/>
                <a:ea typeface="Montserrat"/>
                <a:cs typeface="Montserrat"/>
                <a:sym typeface="Montserrat"/>
              </a:rPr>
              <a:t>#</a:t>
            </a:r>
            <a:r>
              <a:rPr lang="en-US" sz="3733" b="1" kern="0" err="1">
                <a:solidFill>
                  <a:srgbClr val="084A8B"/>
                </a:solidFill>
                <a:latin typeface="Montserrat"/>
                <a:ea typeface="Montserrat"/>
                <a:cs typeface="Montserrat"/>
                <a:sym typeface="Montserrat"/>
              </a:rPr>
              <a:t>StayHome</a:t>
            </a:r>
            <a:endParaRPr lang="en-US" sz="3733" b="1" kern="0">
              <a:solidFill>
                <a:srgbClr val="084A8B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132211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5382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 fullScrn="1"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3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4" fill="hold">
                      <p:stCondLst>
                        <p:cond delay="0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7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 fullScrn="1">
              <p:cMediaNode vol="80000">
                <p:cTn id="18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19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0" fill="hold">
                      <p:stCondLst>
                        <p:cond delay="0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3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 fullScrn="1">
              <p:cMediaNode vol="80000">
                <p:cTn id="24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25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6" fill="hold">
                      <p:stCondLst>
                        <p:cond delay="0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9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video>
              <p:cMediaNode vol="80000" mute="1">
                <p:cTn id="30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Google Shape;83;p14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897676" y="2836645"/>
            <a:ext cx="683848" cy="347267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14"/>
          <p:cNvSpPr txBox="1">
            <a:spLocks noGrp="1"/>
          </p:cNvSpPr>
          <p:nvPr>
            <p:ph type="title" idx="4294967295"/>
          </p:nvPr>
        </p:nvSpPr>
        <p:spPr>
          <a:xfrm>
            <a:off x="1085451" y="102423"/>
            <a:ext cx="6853204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ru" b="1">
                <a:solidFill>
                  <a:srgbClr val="084A8B"/>
                </a:solidFill>
                <a:latin typeface="Montserrat"/>
                <a:ea typeface="Montserrat"/>
                <a:cs typeface="Montserrat"/>
                <a:sym typeface="Montserrat"/>
              </a:rPr>
              <a:t>UGC </a:t>
            </a:r>
            <a:r>
              <a:rPr lang="ru-RU" b="1">
                <a:solidFill>
                  <a:srgbClr val="084A8B"/>
                </a:solidFill>
                <a:latin typeface="Montserrat"/>
                <a:ea typeface="Montserrat"/>
                <a:cs typeface="Montserrat"/>
                <a:sym typeface="Montserrat"/>
              </a:rPr>
              <a:t>более 600 участников </a:t>
            </a:r>
            <a:endParaRPr b="1">
              <a:solidFill>
                <a:srgbClr val="084A8B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" name="UGC1">
            <a:hlinkClick r:id="" action="ppaction://media"/>
            <a:extLst>
              <a:ext uri="{FF2B5EF4-FFF2-40B4-BE49-F238E27FC236}">
                <a16:creationId xmlns:a16="http://schemas.microsoft.com/office/drawing/2014/main" id="{A56BEBE7-7F24-40C1-8D95-D590A222171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731316" y="1326052"/>
            <a:ext cx="4624456" cy="462445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9BD283E-BD32-4C30-AB51-5E972F4B19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8227" y="1327818"/>
            <a:ext cx="3432113" cy="4623039"/>
          </a:xfrm>
          <a:prstGeom prst="rect">
            <a:avLst/>
          </a:prstGeom>
        </p:spPr>
      </p:pic>
      <p:pic>
        <p:nvPicPr>
          <p:cNvPr id="11" name="Рисунок 2">
            <a:extLst>
              <a:ext uri="{FF2B5EF4-FFF2-40B4-BE49-F238E27FC236}">
                <a16:creationId xmlns:a16="http://schemas.microsoft.com/office/drawing/2014/main" id="{F64BA61F-54E4-4BE6-ADEC-FA18401CE29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4459" y="1339275"/>
            <a:ext cx="2613596" cy="2600529"/>
          </a:xfrm>
          <a:prstGeom prst="rect">
            <a:avLst/>
          </a:prstGeom>
        </p:spPr>
      </p:pic>
      <p:pic>
        <p:nvPicPr>
          <p:cNvPr id="10" name="Рисунок 13">
            <a:extLst>
              <a:ext uri="{FF2B5EF4-FFF2-40B4-BE49-F238E27FC236}">
                <a16:creationId xmlns:a16="http://schemas.microsoft.com/office/drawing/2014/main" id="{C23BDEA1-2945-48B0-AE1F-182261C9357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93730" y="3997027"/>
            <a:ext cx="2645347" cy="1982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44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57829CA-EAF8-7045-97D1-CB1EFB8BC16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25040" y="476119"/>
            <a:ext cx="3528691" cy="590576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019287E-CC3F-2543-AD0F-753D4819516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" r="1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6993785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57829CA-EAF8-7045-97D1-CB1EFB8BC16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25040" y="476118"/>
            <a:ext cx="3528692" cy="590576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A4178BA-3297-5542-91FA-D7EE2F80071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" r="1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3520585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57829CA-EAF8-7045-97D1-CB1EFB8BC16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25040" y="476117"/>
            <a:ext cx="3528695" cy="590576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E1EE3B-35F2-4343-A695-89E76B5762E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" r="1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94558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75ADC87-2BD1-462F-8BFA-0521E66F1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430" y="2097797"/>
            <a:ext cx="11324493" cy="952997"/>
          </a:xfrm>
        </p:spPr>
        <p:txBody>
          <a:bodyPr/>
          <a:lstStyle/>
          <a:p>
            <a:pPr algn="ctr"/>
            <a:r>
              <a:rPr lang="ru-RU" sz="4800"/>
              <a:t/>
            </a:r>
            <a:br>
              <a:rPr lang="ru-RU" sz="4800"/>
            </a:br>
            <a:r>
              <a:rPr lang="ru-RU" sz="4800"/>
              <a:t/>
            </a:r>
            <a:br>
              <a:rPr lang="ru-RU" sz="4800"/>
            </a:br>
            <a:r>
              <a:rPr lang="ru-RU" sz="4800"/>
              <a:t/>
            </a:r>
            <a:br>
              <a:rPr lang="ru-RU" sz="4800"/>
            </a:br>
            <a:r>
              <a:rPr lang="ru-RU" sz="4800"/>
              <a:t>ТЕСТЫ </a:t>
            </a:r>
            <a:r>
              <a:rPr lang="en-US" sz="4800"/>
              <a:t>vs. </a:t>
            </a:r>
            <a:r>
              <a:rPr lang="ru-RU" sz="4800"/>
              <a:t>СПЕЦПРОЕКТЫ</a:t>
            </a:r>
          </a:p>
        </p:txBody>
      </p:sp>
    </p:spTree>
    <p:extLst>
      <p:ext uri="{BB962C8B-B14F-4D97-AF65-F5344CB8AC3E}">
        <p14:creationId xmlns:p14="http://schemas.microsoft.com/office/powerpoint/2010/main" val="30353516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61F7DAD-7E79-4F54-AE65-530CE9D1F7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46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674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81">
            <a:extLst>
              <a:ext uri="{FF2B5EF4-FFF2-40B4-BE49-F238E27FC236}">
                <a16:creationId xmlns:a16="http://schemas.microsoft.com/office/drawing/2014/main" id="{6C46D865-8F1C-4E73-901A-13D82370BE2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3849" y="4287151"/>
            <a:ext cx="805129" cy="985157"/>
          </a:xfrm>
          <a:prstGeom prst="rect">
            <a:avLst/>
          </a:prstGeom>
        </p:spPr>
      </p:pic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97CC5326-904B-45CD-A8B6-14C47373BA2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5371" y="3713672"/>
            <a:ext cx="1246909" cy="1558636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20E5441-D46C-4160-AF17-6B6752FD0EAD}"/>
              </a:ext>
            </a:extLst>
          </p:cNvPr>
          <p:cNvSpPr/>
          <p:nvPr/>
        </p:nvSpPr>
        <p:spPr>
          <a:xfrm>
            <a:off x="1100986" y="2395343"/>
            <a:ext cx="1594794" cy="522514"/>
          </a:xfrm>
          <a:prstGeom prst="rect">
            <a:avLst/>
          </a:prstGeom>
          <a:solidFill>
            <a:srgbClr val="004C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/>
              <a:t>МОЛОЧНАЯ ПРОДУКЦИЯ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5355DF3-DB26-4A51-9651-F4FF91E910E3}"/>
              </a:ext>
            </a:extLst>
          </p:cNvPr>
          <p:cNvSpPr/>
          <p:nvPr/>
        </p:nvSpPr>
        <p:spPr>
          <a:xfrm>
            <a:off x="285285" y="2222025"/>
            <a:ext cx="954918" cy="8691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004C97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B47B00DD-F9A0-4D72-80AB-324746C5C78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46" y="2346602"/>
            <a:ext cx="619995" cy="61999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764972D-56BD-4EE3-9A9D-28BD2F643A0A}"/>
              </a:ext>
            </a:extLst>
          </p:cNvPr>
          <p:cNvSpPr/>
          <p:nvPr/>
        </p:nvSpPr>
        <p:spPr>
          <a:xfrm>
            <a:off x="3417698" y="2395343"/>
            <a:ext cx="1594794" cy="522514"/>
          </a:xfrm>
          <a:prstGeom prst="rect">
            <a:avLst/>
          </a:prstGeom>
          <a:solidFill>
            <a:srgbClr val="004C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/>
              <a:t>СНЭКИ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6E6BD61E-DDBF-4305-A878-B15566775A65}"/>
              </a:ext>
            </a:extLst>
          </p:cNvPr>
          <p:cNvSpPr/>
          <p:nvPr/>
        </p:nvSpPr>
        <p:spPr>
          <a:xfrm>
            <a:off x="2601997" y="2222025"/>
            <a:ext cx="954918" cy="8691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004C97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4582A6D-DD78-4935-9DEF-3A63B102E6B0}"/>
              </a:ext>
            </a:extLst>
          </p:cNvPr>
          <p:cNvSpPr/>
          <p:nvPr/>
        </p:nvSpPr>
        <p:spPr>
          <a:xfrm>
            <a:off x="5721022" y="2400021"/>
            <a:ext cx="1594794" cy="522514"/>
          </a:xfrm>
          <a:prstGeom prst="rect">
            <a:avLst/>
          </a:prstGeom>
          <a:solidFill>
            <a:srgbClr val="004C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/>
              <a:t>НАПИТКИ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BD5E59A-A92F-4C7F-B358-C10D7119091D}"/>
              </a:ext>
            </a:extLst>
          </p:cNvPr>
          <p:cNvSpPr/>
          <p:nvPr/>
        </p:nvSpPr>
        <p:spPr>
          <a:xfrm>
            <a:off x="4905321" y="2226703"/>
            <a:ext cx="954918" cy="8691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004C97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FE14197-1DCE-467C-A51F-67E30F73AD9B}"/>
              </a:ext>
            </a:extLst>
          </p:cNvPr>
          <p:cNvSpPr/>
          <p:nvPr/>
        </p:nvSpPr>
        <p:spPr>
          <a:xfrm>
            <a:off x="7963863" y="2389019"/>
            <a:ext cx="1594794" cy="522514"/>
          </a:xfrm>
          <a:prstGeom prst="rect">
            <a:avLst/>
          </a:prstGeom>
          <a:solidFill>
            <a:srgbClr val="004C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/>
              <a:t>ДЕТСКОЕ </a:t>
            </a:r>
          </a:p>
          <a:p>
            <a:pPr algn="ctr"/>
            <a:r>
              <a:rPr lang="ru-RU" sz="1100"/>
              <a:t>ПИТАНИЕ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83A435C-B98C-4A15-9EBD-342FFAD92BE9}"/>
              </a:ext>
            </a:extLst>
          </p:cNvPr>
          <p:cNvSpPr/>
          <p:nvPr/>
        </p:nvSpPr>
        <p:spPr>
          <a:xfrm>
            <a:off x="7148162" y="2215701"/>
            <a:ext cx="954918" cy="8691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004C97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088F2C5-0692-4A5B-9178-C67C4C40B30C}"/>
              </a:ext>
            </a:extLst>
          </p:cNvPr>
          <p:cNvSpPr/>
          <p:nvPr/>
        </p:nvSpPr>
        <p:spPr>
          <a:xfrm>
            <a:off x="10268134" y="2389019"/>
            <a:ext cx="1594794" cy="522514"/>
          </a:xfrm>
          <a:prstGeom prst="rect">
            <a:avLst/>
          </a:prstGeom>
          <a:solidFill>
            <a:srgbClr val="004C9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/>
              <a:t>СОКИ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06C1C821-E2DF-4786-BB78-CF7A9FCCFF66}"/>
              </a:ext>
            </a:extLst>
          </p:cNvPr>
          <p:cNvSpPr/>
          <p:nvPr/>
        </p:nvSpPr>
        <p:spPr>
          <a:xfrm>
            <a:off x="9452433" y="2215701"/>
            <a:ext cx="954918" cy="86915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srgbClr val="004C97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330047CC-2B78-4B23-8AEB-9272A1D935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2219" y="2400021"/>
            <a:ext cx="554474" cy="554474"/>
          </a:xfrm>
          <a:prstGeom prst="rect">
            <a:avLst/>
          </a:prstGeom>
        </p:spPr>
      </p:pic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5A5A62F1-6223-40EC-8E29-AA8D34E1B5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7772" y="2303429"/>
            <a:ext cx="715698" cy="715698"/>
          </a:xfrm>
          <a:prstGeom prst="rect">
            <a:avLst/>
          </a:prstGeom>
        </p:spPr>
      </p:pic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EBC33714-D2F4-49A2-BB2C-90DA9208387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8198" y="2359584"/>
            <a:ext cx="603388" cy="603388"/>
          </a:xfrm>
          <a:prstGeom prst="rect">
            <a:avLst/>
          </a:prstGeom>
        </p:spPr>
      </p:pic>
      <p:pic>
        <p:nvPicPr>
          <p:cNvPr id="11" name="Picture 10" descr="A picture containing clock, drawing&#10;&#10;Description automatically generated">
            <a:extLst>
              <a:ext uri="{FF2B5EF4-FFF2-40B4-BE49-F238E27FC236}">
                <a16:creationId xmlns:a16="http://schemas.microsoft.com/office/drawing/2014/main" id="{EE3D3F5A-4167-4C9E-8516-4FFBD9D9363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4916" y="2303429"/>
            <a:ext cx="635729" cy="635729"/>
          </a:xfrm>
          <a:prstGeom prst="rect">
            <a:avLst/>
          </a:prstGeom>
        </p:spPr>
      </p:pic>
      <p:sp>
        <p:nvSpPr>
          <p:cNvPr id="90" name="Заголовок 1">
            <a:extLst>
              <a:ext uri="{FF2B5EF4-FFF2-40B4-BE49-F238E27FC236}">
                <a16:creationId xmlns:a16="http://schemas.microsoft.com/office/drawing/2014/main" id="{A0201040-428B-4F30-83CF-1B57F258F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206" y="971991"/>
            <a:ext cx="10515600" cy="766915"/>
          </a:xfrm>
        </p:spPr>
        <p:txBody>
          <a:bodyPr/>
          <a:lstStyle/>
          <a:p>
            <a:r>
              <a:rPr lang="en-US">
                <a:solidFill>
                  <a:srgbClr val="004C97"/>
                </a:solidFill>
              </a:rPr>
              <a:t>PepsiCo </a:t>
            </a:r>
            <a:r>
              <a:rPr lang="ru-RU">
                <a:solidFill>
                  <a:srgbClr val="004C97"/>
                </a:solidFill>
              </a:rPr>
              <a:t>в России</a:t>
            </a:r>
            <a:r>
              <a:rPr lang="en-US">
                <a:solidFill>
                  <a:srgbClr val="004C97"/>
                </a:solidFill>
              </a:rPr>
              <a:t> </a:t>
            </a:r>
            <a:endParaRPr lang="ru-RU">
              <a:solidFill>
                <a:srgbClr val="004C97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03058E9-E034-477C-950F-1B0140F8B624}"/>
              </a:ext>
            </a:extLst>
          </p:cNvPr>
          <p:cNvSpPr/>
          <p:nvPr/>
        </p:nvSpPr>
        <p:spPr>
          <a:xfrm>
            <a:off x="5843108" y="5747389"/>
            <a:ext cx="3241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r>
              <a:rPr lang="ru-RU"/>
              <a:t> 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027FCB1-4269-42C2-8A07-E025217D363E}"/>
              </a:ext>
            </a:extLst>
          </p:cNvPr>
          <p:cNvSpPr/>
          <p:nvPr/>
        </p:nvSpPr>
        <p:spPr>
          <a:xfrm>
            <a:off x="5843108" y="5747389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ru-RU"/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0F2978B0-DD51-4E4D-8266-5D99EE27172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2380" y="3709159"/>
            <a:ext cx="668738" cy="1604973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0836A09B-B5C4-4F80-84DD-C16097B16D0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7424" y="3752342"/>
            <a:ext cx="685801" cy="1523327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F8A06508-CCC9-4DF5-85D8-70126F44A95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3300" y="3950564"/>
            <a:ext cx="419762" cy="1344459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E795132-3E9A-496C-9F44-76A6FF262A4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9681" y="4089487"/>
            <a:ext cx="522430" cy="1044860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1CCEE6A5-45C9-473D-B998-14A7A8538D8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579" y="4039553"/>
            <a:ext cx="390279" cy="1219621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5799AFA1-E9B9-4FCA-89B7-62145E55DE7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633" y="4392423"/>
            <a:ext cx="383146" cy="924417"/>
          </a:xfrm>
          <a:prstGeom prst="rect">
            <a:avLst/>
          </a:prstGeom>
        </p:spPr>
      </p:pic>
      <p:pic>
        <p:nvPicPr>
          <p:cNvPr id="60" name="Picture 47">
            <a:extLst>
              <a:ext uri="{FF2B5EF4-FFF2-40B4-BE49-F238E27FC236}">
                <a16:creationId xmlns:a16="http://schemas.microsoft.com/office/drawing/2014/main" id="{819BF06D-D563-4291-8066-B559F89CF5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100000" l="7036" r="97924">
                        <a14:foregroundMark x1="38293" y1="31400" x2="38293" y2="31400"/>
                        <a14:foregroundMark x1="38293" y1="28300" x2="38293" y2="28300"/>
                        <a14:foregroundMark x1="45329" y1="29500" x2="45329" y2="29500"/>
                        <a14:foregroundMark x1="43253" y1="29800" x2="43253" y2="29800"/>
                        <a14:foregroundMark x1="41869" y1="32600" x2="63437" y2="28600"/>
                        <a14:foregroundMark x1="63437" y1="31700" x2="63437" y2="31700"/>
                        <a14:foregroundMark x1="37255" y1="35100" x2="37255" y2="35100"/>
                        <a14:foregroundMark x1="34717" y1="50800" x2="69204" y2="56300"/>
                        <a14:foregroundMark x1="56747" y1="36000" x2="56747" y2="36000"/>
                        <a14:foregroundMark x1="46482" y1="36900" x2="46482" y2="36900"/>
                        <a14:foregroundMark x1="62053" y1="26100" x2="62053" y2="26100"/>
                        <a14:foregroundMark x1="66321" y1="34000" x2="66321" y2="34000"/>
                        <a14:foregroundMark x1="62630" y1="36600" x2="60092" y2="36500"/>
                        <a14:foregroundMark x1="64821" y1="35600" x2="67243" y2="34000"/>
                        <a14:foregroundMark x1="66436" y1="30500" x2="66321" y2="28300"/>
                        <a14:foregroundMark x1="34256" y1="38200" x2="35063" y2="28100"/>
                        <a14:foregroundMark x1="40369" y1="24300" x2="54325" y2="26500"/>
                        <a14:foregroundMark x1="59977" y1="32200" x2="61707" y2="327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2092" y="4111331"/>
            <a:ext cx="901685" cy="1149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CAD2A761-2181-49D8-BF26-4A8C5465782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3089" b="97225" l="10000" r="90000">
                        <a14:foregroundMark x1="52900" y1="41092" x2="52900" y2="410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1178" y="3979592"/>
            <a:ext cx="598589" cy="1337248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F7479CC0-81BE-4154-AF71-B38FA8BFBA6A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1006" y="3969957"/>
            <a:ext cx="416916" cy="133200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08961D34-9662-45B0-91B4-FDA5098C6A1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962" r="21647"/>
          <a:stretch/>
        </p:blipFill>
        <p:spPr>
          <a:xfrm>
            <a:off x="6704179" y="3631109"/>
            <a:ext cx="566058" cy="1673031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9EC10A7A-2EB4-4E1F-8E29-FD6289033D33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1886" y="3785622"/>
            <a:ext cx="509220" cy="147600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BA63BDAB-321F-47E7-B7D8-2B29856E64E3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1932" y="3772922"/>
            <a:ext cx="509798" cy="1477448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997B9B1A-C665-4CD5-855C-BF2C5D3F6ACF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4292" y="4562642"/>
            <a:ext cx="554764" cy="70966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8654E31A-B218-4D80-B5C4-7ED4AC9E2763}"/>
              </a:ext>
            </a:extLst>
          </p:cNvPr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01104" y="4299571"/>
            <a:ext cx="417289" cy="959603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FD4E57A1-3A78-43D5-B7AA-5E4E857B1825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2699" y="3799433"/>
            <a:ext cx="786826" cy="1476236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F099BC2-E33B-4D9C-A5EE-6FF0E696D095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2112" y="4605810"/>
            <a:ext cx="531503" cy="679910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236924B0-5F85-4024-8AEA-1ED4F242064E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658" y="3695656"/>
            <a:ext cx="586895" cy="1548462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8A11EAD5-D915-4130-B652-F45564993238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0110" y="3742482"/>
            <a:ext cx="589166" cy="1513902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8C296D40-441C-450A-9781-A1E6EE9C6301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43739" y="4446039"/>
            <a:ext cx="317694" cy="78494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29EFFBB-E58F-4ECF-B7DB-9CE2C56EF417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ackgroundRemoval t="2593" b="98379" l="4646" r="92699">
                        <a14:foregroundMark x1="13496" y1="5997" x2="45354" y2="27229"/>
                        <a14:foregroundMark x1="45354" y1="27229" x2="50221" y2="35818"/>
                        <a14:foregroundMark x1="50221" y1="35818" x2="52212" y2="68395"/>
                        <a14:foregroundMark x1="52212" y1="68395" x2="48451" y2="77958"/>
                        <a14:foregroundMark x1="48451" y1="77958" x2="32522" y2="91248"/>
                        <a14:foregroundMark x1="32522" y1="91248" x2="28761" y2="93355"/>
                        <a14:foregroundMark x1="13274" y1="9076" x2="37611" y2="8914"/>
                        <a14:foregroundMark x1="37611" y1="8914" x2="63938" y2="10373"/>
                        <a14:foregroundMark x1="63938" y1="10373" x2="85177" y2="8104"/>
                        <a14:foregroundMark x1="40929" y1="3728" x2="52655" y2="7293"/>
                        <a14:foregroundMark x1="52655" y1="7293" x2="67478" y2="16045"/>
                        <a14:foregroundMark x1="67478" y1="16045" x2="74558" y2="23339"/>
                        <a14:foregroundMark x1="74558" y1="23339" x2="77434" y2="29822"/>
                        <a14:foregroundMark x1="86062" y1="6807" x2="64823" y2="56402"/>
                        <a14:foregroundMark x1="64823" y1="56402" x2="62832" y2="73744"/>
                        <a14:foregroundMark x1="17478" y1="36305" x2="26106" y2="19287"/>
                        <a14:foregroundMark x1="26106" y1="19287" x2="36504" y2="16532"/>
                        <a14:foregroundMark x1="9513" y1="5186" x2="39602" y2="4214"/>
                        <a14:foregroundMark x1="39602" y1="4214" x2="91593" y2="4214"/>
                        <a14:foregroundMark x1="88938" y1="8590" x2="85177" y2="28039"/>
                        <a14:foregroundMark x1="15708" y1="21394" x2="17920" y2="61912"/>
                        <a14:foregroundMark x1="17920" y1="61912" x2="15929" y2="73744"/>
                        <a14:foregroundMark x1="14159" y1="16045" x2="37168" y2="16207"/>
                        <a14:foregroundMark x1="37168" y1="16207" x2="49336" y2="15721"/>
                        <a14:foregroundMark x1="49336" y1="15721" x2="52655" y2="15721"/>
                        <a14:foregroundMark x1="69248" y1="13938" x2="32743" y2="44733"/>
                        <a14:foregroundMark x1="32743" y1="44733" x2="31858" y2="44733"/>
                        <a14:foregroundMark x1="7080" y1="4376" x2="7743" y2="3079"/>
                        <a14:foregroundMark x1="23894" y1="28525" x2="37611" y2="30956"/>
                        <a14:foregroundMark x1="37611" y1="30956" x2="20133" y2="35332"/>
                        <a14:foregroundMark x1="20133" y1="35332" x2="29646" y2="42301"/>
                        <a14:foregroundMark x1="29646" y1="42301" x2="42699" y2="41329"/>
                        <a14:foregroundMark x1="42699" y1="41329" x2="51991" y2="32253"/>
                        <a14:foregroundMark x1="51991" y1="32253" x2="61504" y2="38574"/>
                        <a14:foregroundMark x1="61504" y1="38574" x2="65265" y2="19125"/>
                        <a14:foregroundMark x1="65265" y1="19125" x2="67035" y2="33549"/>
                        <a14:foregroundMark x1="67035" y1="33549" x2="62832" y2="46353"/>
                        <a14:foregroundMark x1="62832" y1="46353" x2="41150" y2="73420"/>
                        <a14:foregroundMark x1="41150" y1="73420" x2="36283" y2="84603"/>
                        <a14:foregroundMark x1="36283" y1="84603" x2="23673" y2="87196"/>
                        <a14:foregroundMark x1="23673" y1="87196" x2="18584" y2="78930"/>
                        <a14:foregroundMark x1="18584" y1="78930" x2="36283" y2="73258"/>
                        <a14:foregroundMark x1="36283" y1="73258" x2="47788" y2="75527"/>
                        <a14:foregroundMark x1="47788" y1="75527" x2="55973" y2="83306"/>
                        <a14:foregroundMark x1="55973" y1="83306" x2="55310" y2="84603"/>
                        <a14:foregroundMark x1="6637" y1="96921" x2="20133" y2="96110"/>
                        <a14:foregroundMark x1="20133" y1="96110" x2="32965" y2="96110"/>
                        <a14:foregroundMark x1="32965" y1="96110" x2="69248" y2="94327"/>
                        <a14:foregroundMark x1="69248" y1="94327" x2="80752" y2="94327"/>
                        <a14:foregroundMark x1="80752" y1="94327" x2="90708" y2="93841"/>
                        <a14:foregroundMark x1="68142" y1="76661" x2="65929" y2="69692"/>
                        <a14:foregroundMark x1="92920" y1="92058" x2="92257" y2="92869"/>
                        <a14:foregroundMark x1="36726" y1="26742" x2="25000" y2="30308"/>
                        <a14:foregroundMark x1="25000" y1="30308" x2="21460" y2="40032"/>
                        <a14:foregroundMark x1="21460" y1="40032" x2="28761" y2="50567"/>
                        <a14:foregroundMark x1="28761" y1="50567" x2="43584" y2="53971"/>
                        <a14:foregroundMark x1="43584" y1="53971" x2="59513" y2="40843"/>
                        <a14:foregroundMark x1="59513" y1="40843" x2="63938" y2="30308"/>
                        <a14:foregroundMark x1="63938" y1="30308" x2="67035" y2="41977"/>
                        <a14:foregroundMark x1="67035" y1="41977" x2="76327" y2="29011"/>
                        <a14:foregroundMark x1="76327" y1="29011" x2="73230" y2="38898"/>
                        <a14:foregroundMark x1="73230" y1="38898" x2="73230" y2="38898"/>
                        <a14:foregroundMark x1="38496" y1="27391" x2="38496" y2="27229"/>
                        <a14:foregroundMark x1="38938" y1="26580" x2="38938" y2="35656"/>
                        <a14:foregroundMark x1="18142" y1="39060" x2="21681" y2="53160"/>
                        <a14:foregroundMark x1="21681" y1="54457" x2="47345" y2="42788"/>
                        <a14:foregroundMark x1="47345" y1="42788" x2="55310" y2="37439"/>
                        <a14:foregroundMark x1="42478" y1="39870" x2="43363" y2="50243"/>
                        <a14:foregroundMark x1="66593" y1="23015" x2="82301" y2="36629"/>
                        <a14:foregroundMark x1="84735" y1="24311" x2="76106" y2="31442"/>
                        <a14:foregroundMark x1="76106" y1="31442" x2="75442" y2="34198"/>
                        <a14:foregroundMark x1="75442" y1="58185" x2="70354" y2="67099"/>
                        <a14:foregroundMark x1="70354" y1="67099" x2="58850" y2="72123"/>
                        <a14:foregroundMark x1="92035" y1="90113" x2="64823" y2="89789"/>
                        <a14:foregroundMark x1="4646" y1="98379" x2="19027" y2="97407"/>
                        <a14:foregroundMark x1="91814" y1="2755" x2="92478" y2="5835"/>
                        <a14:foregroundMark x1="84071" y1="77310" x2="72566" y2="77796"/>
                        <a14:foregroundMark x1="72566" y1="77796" x2="76549" y2="80389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78401" y="3880175"/>
            <a:ext cx="1008179" cy="1376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51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75ADC87-2BD1-462F-8BFA-0521E66F1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528" y="3847603"/>
            <a:ext cx="11324493" cy="952997"/>
          </a:xfrm>
        </p:spPr>
        <p:txBody>
          <a:bodyPr/>
          <a:lstStyle/>
          <a:p>
            <a:pPr algn="ctr"/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>ОМНИКАНАЛЬНОСТЬ</a:t>
            </a:r>
            <a:br>
              <a:rPr lang="ru-RU" sz="4800" dirty="0"/>
            </a:br>
            <a:endParaRPr lang="ru-RU" sz="4800" dirty="0"/>
          </a:p>
        </p:txBody>
      </p:sp>
    </p:spTree>
    <p:extLst>
      <p:ext uri="{BB962C8B-B14F-4D97-AF65-F5344CB8AC3E}">
        <p14:creationId xmlns:p14="http://schemas.microsoft.com/office/powerpoint/2010/main" val="31799880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931F35D-E469-4137-8A2B-DF12DC8F4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СПАСИБО!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1AEBEDD-BE8F-45B8-8CAE-C6D201EDB2A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200400" y="2680786"/>
            <a:ext cx="8245370" cy="748214"/>
          </a:xfrm>
        </p:spPr>
        <p:txBody>
          <a:bodyPr/>
          <a:lstStyle/>
          <a:p>
            <a:r>
              <a:rPr lang="ru-RU" sz="2400"/>
              <a:t>Наталья </a:t>
            </a:r>
            <a:r>
              <a:rPr lang="ru-RU" sz="2400" err="1"/>
              <a:t>Баскинд</a:t>
            </a:r>
            <a:r>
              <a:rPr lang="ru-RU" sz="2400"/>
              <a:t>, </a:t>
            </a:r>
            <a:r>
              <a:rPr lang="en-US" sz="2400"/>
              <a:t>Digital &amp; Ecommerce Director PepsiCo</a:t>
            </a:r>
          </a:p>
          <a:p>
            <a:r>
              <a:rPr lang="en-US" sz="2400">
                <a:hlinkClick r:id="rId3"/>
              </a:rPr>
              <a:t>Natalya.Baskind@pepsico.com</a:t>
            </a:r>
            <a:endParaRPr lang="en-US" sz="2400"/>
          </a:p>
          <a:p>
            <a:endParaRPr lang="en-US" sz="2400"/>
          </a:p>
          <a:p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36015274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86F079E3-03C6-4383-9DAD-836C45B23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0919"/>
            <a:ext cx="10515600" cy="766915"/>
          </a:xfrm>
        </p:spPr>
        <p:txBody>
          <a:bodyPr/>
          <a:lstStyle/>
          <a:p>
            <a:r>
              <a:rPr lang="ru-RU">
                <a:solidFill>
                  <a:srgbClr val="004C97"/>
                </a:solidFill>
              </a:rPr>
              <a:t>Вызовы нового времени</a:t>
            </a: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56338A7C-357A-440C-8328-CD05189D197F}"/>
              </a:ext>
            </a:extLst>
          </p:cNvPr>
          <p:cNvSpPr txBox="1">
            <a:spLocks/>
          </p:cNvSpPr>
          <p:nvPr/>
        </p:nvSpPr>
        <p:spPr>
          <a:xfrm>
            <a:off x="3448473" y="5577836"/>
            <a:ext cx="2567093" cy="952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/>
              <a:t>Изменяются</a:t>
            </a:r>
            <a:r>
              <a:rPr lang="en-US" sz="1600"/>
              <a:t> </a:t>
            </a:r>
            <a:r>
              <a:rPr lang="ru-RU" sz="1600"/>
              <a:t>рабочие процессы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F46B5436-62ED-4060-B112-167612E2D0FD}"/>
              </a:ext>
            </a:extLst>
          </p:cNvPr>
          <p:cNvSpPr txBox="1">
            <a:spLocks/>
          </p:cNvSpPr>
          <p:nvPr/>
        </p:nvSpPr>
        <p:spPr>
          <a:xfrm>
            <a:off x="9098281" y="5696353"/>
            <a:ext cx="2916764" cy="952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/>
              <a:t>Ухудшается эмоциональное и финансовое состояние населения</a:t>
            </a:r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2ABC10A7-78A8-4C60-A65E-786CDBDD2B80}"/>
              </a:ext>
            </a:extLst>
          </p:cNvPr>
          <p:cNvSpPr txBox="1">
            <a:spLocks/>
          </p:cNvSpPr>
          <p:nvPr/>
        </p:nvSpPr>
        <p:spPr>
          <a:xfrm>
            <a:off x="526627" y="5577835"/>
            <a:ext cx="2567093" cy="6908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/>
              <a:t>Резко растет </a:t>
            </a:r>
            <a:r>
              <a:rPr lang="en-US" sz="1600"/>
              <a:t>e-com</a:t>
            </a:r>
            <a:endParaRPr lang="ru-RU" sz="1600"/>
          </a:p>
        </p:txBody>
      </p:sp>
      <p:pic>
        <p:nvPicPr>
          <p:cNvPr id="10" name="Picture 9" descr="A picture containing person, indoor, man, standing&#10;&#10;Description automatically generated">
            <a:extLst>
              <a:ext uri="{FF2B5EF4-FFF2-40B4-BE49-F238E27FC236}">
                <a16:creationId xmlns:a16="http://schemas.microsoft.com/office/drawing/2014/main" id="{B7BCDEC1-3AC6-4EB1-942C-6BCE7F3D2C3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8474" y="1757672"/>
            <a:ext cx="2567093" cy="3850640"/>
          </a:xfrm>
          <a:prstGeom prst="rect">
            <a:avLst/>
          </a:prstGeom>
        </p:spPr>
      </p:pic>
      <p:pic>
        <p:nvPicPr>
          <p:cNvPr id="12" name="Picture 11" descr="A group of people riding skis on a snowy road&#10;&#10;Description automatically generated">
            <a:extLst>
              <a:ext uri="{FF2B5EF4-FFF2-40B4-BE49-F238E27FC236}">
                <a16:creationId xmlns:a16="http://schemas.microsoft.com/office/drawing/2014/main" id="{38D47370-6E09-4FCF-80A7-707D685183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60" r="27875"/>
          <a:stretch/>
        </p:blipFill>
        <p:spPr>
          <a:xfrm>
            <a:off x="526627" y="1776365"/>
            <a:ext cx="2567093" cy="383194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AB03BC7-7C42-4847-83F5-9D40C6890E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048" r="22967"/>
          <a:stretch/>
        </p:blipFill>
        <p:spPr>
          <a:xfrm>
            <a:off x="9292164" y="1749174"/>
            <a:ext cx="2567093" cy="3867635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9B70CFBA-90F4-48A5-8AE5-260D12252FCD}"/>
              </a:ext>
            </a:extLst>
          </p:cNvPr>
          <p:cNvSpPr txBox="1">
            <a:spLocks/>
          </p:cNvSpPr>
          <p:nvPr/>
        </p:nvSpPr>
        <p:spPr>
          <a:xfrm>
            <a:off x="6370319" y="5616809"/>
            <a:ext cx="2567093" cy="9529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/>
              <a:t>Изменяются</a:t>
            </a:r>
            <a:r>
              <a:rPr lang="en-US" sz="1600"/>
              <a:t> </a:t>
            </a:r>
            <a:r>
              <a:rPr lang="ru-RU" sz="1600"/>
              <a:t>интересы потребителя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49F99BC-4467-4912-80A1-B926ABA2B27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2813" r="23708"/>
          <a:stretch/>
        </p:blipFill>
        <p:spPr>
          <a:xfrm>
            <a:off x="6370319" y="1749174"/>
            <a:ext cx="2540191" cy="3859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0528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75ADC87-2BD1-462F-8BFA-0521E66F1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399" y="3628292"/>
            <a:ext cx="11324493" cy="952997"/>
          </a:xfrm>
        </p:spPr>
        <p:txBody>
          <a:bodyPr/>
          <a:lstStyle/>
          <a:p>
            <a:pPr algn="ctr"/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>НОВОЕ!</a:t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en-US" sz="4800" dirty="0"/>
              <a:t>Ecommerce </a:t>
            </a:r>
            <a:r>
              <a:rPr lang="ru-RU" sz="4800" dirty="0"/>
              <a:t>становится </a:t>
            </a:r>
            <a:br>
              <a:rPr lang="ru-RU" sz="4800" dirty="0"/>
            </a:br>
            <a:r>
              <a:rPr lang="ru-RU" sz="4800" dirty="0"/>
              <a:t>частью медиа микса и… </a:t>
            </a:r>
            <a:br>
              <a:rPr lang="ru-RU" sz="4800" dirty="0"/>
            </a:br>
            <a:endParaRPr lang="ru-RU" sz="4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575177-6FF8-41B4-BAF5-08163E3AD59B}"/>
              </a:ext>
            </a:extLst>
          </p:cNvPr>
          <p:cNvSpPr txBox="1"/>
          <p:nvPr/>
        </p:nvSpPr>
        <p:spPr>
          <a:xfrm>
            <a:off x="2503714" y="3175390"/>
            <a:ext cx="7184571" cy="150297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>
              <a:lnSpc>
                <a:spcPts val="5500"/>
              </a:lnSpc>
              <a:spcBef>
                <a:spcPct val="0"/>
              </a:spcBef>
              <a:buNone/>
              <a:defRPr sz="48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медиа площадкой</a:t>
            </a:r>
          </a:p>
        </p:txBody>
      </p:sp>
    </p:spTree>
    <p:extLst>
      <p:ext uri="{BB962C8B-B14F-4D97-AF65-F5344CB8AC3E}">
        <p14:creationId xmlns:p14="http://schemas.microsoft.com/office/powerpoint/2010/main" val="4078796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0" name="Rectangle 79">
            <a:extLst>
              <a:ext uri="{FF2B5EF4-FFF2-40B4-BE49-F238E27FC236}">
                <a16:creationId xmlns:a16="http://schemas.microsoft.com/office/drawing/2014/main" id="{031EA4A4-5D79-4817-B146-24029A2F3CC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9005A8-44C3-43A3-B597-FBFACD41428F}"/>
              </a:ext>
            </a:extLst>
          </p:cNvPr>
          <p:cNvSpPr txBox="1"/>
          <p:nvPr/>
        </p:nvSpPr>
        <p:spPr>
          <a:xfrm>
            <a:off x="563880" y="939483"/>
            <a:ext cx="3977640" cy="320413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400">
                <a:latin typeface="+mj-lt"/>
                <a:ea typeface="+mj-ea"/>
                <a:cs typeface="+mj-cs"/>
              </a:rPr>
              <a:t>Ecommerce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sz="4400">
                <a:latin typeface="+mj-lt"/>
                <a:ea typeface="+mj-ea"/>
                <a:cs typeface="+mj-cs"/>
              </a:rPr>
              <a:t>часть</a:t>
            </a:r>
            <a:r>
              <a:rPr lang="en-US" sz="4400">
                <a:latin typeface="+mj-lt"/>
                <a:ea typeface="+mj-ea"/>
                <a:cs typeface="+mj-cs"/>
              </a:rPr>
              <a:t> </a:t>
            </a:r>
            <a:r>
              <a:rPr lang="en-US" sz="4400" err="1">
                <a:latin typeface="+mj-lt"/>
                <a:ea typeface="+mj-ea"/>
                <a:cs typeface="+mj-cs"/>
              </a:rPr>
              <a:t>медиа</a:t>
            </a:r>
            <a:r>
              <a:rPr lang="en-US" sz="4400">
                <a:latin typeface="+mj-lt"/>
                <a:ea typeface="+mj-ea"/>
                <a:cs typeface="+mj-cs"/>
              </a:rPr>
              <a:t> </a:t>
            </a:r>
            <a:r>
              <a:rPr lang="en-US" sz="4400" err="1">
                <a:latin typeface="+mj-lt"/>
                <a:ea typeface="+mj-ea"/>
                <a:cs typeface="+mj-cs"/>
              </a:rPr>
              <a:t>микс</a:t>
            </a:r>
            <a:endParaRPr lang="en-US" sz="4400">
              <a:latin typeface="+mj-lt"/>
              <a:ea typeface="+mj-ea"/>
              <a:cs typeface="+mj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8130540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851648" y="4546920"/>
            <a:ext cx="39776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0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B933522-132A-4213-8169-98947242522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28" b="887"/>
          <a:stretch/>
        </p:blipFill>
        <p:spPr>
          <a:xfrm>
            <a:off x="5757678" y="476883"/>
            <a:ext cx="6434322" cy="5732188"/>
          </a:xfrm>
          <a:prstGeom prst="rect">
            <a:avLst/>
          </a:prstGeom>
        </p:spPr>
      </p:pic>
      <p:pic>
        <p:nvPicPr>
          <p:cNvPr id="7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01D491B2-F7F3-4FE8-86BD-D69D265B1E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828" b="887"/>
          <a:stretch/>
        </p:blipFill>
        <p:spPr>
          <a:xfrm>
            <a:off x="4916384" y="353181"/>
            <a:ext cx="7275616" cy="6481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810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F9005A8-44C3-43A3-B597-FBFACD41428F}"/>
              </a:ext>
            </a:extLst>
          </p:cNvPr>
          <p:cNvSpPr txBox="1"/>
          <p:nvPr/>
        </p:nvSpPr>
        <p:spPr>
          <a:xfrm>
            <a:off x="642996" y="4571216"/>
            <a:ext cx="10906008" cy="111541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200" dirty="0">
                <a:latin typeface="+mj-lt"/>
                <a:ea typeface="+mj-ea"/>
                <a:cs typeface="+mj-cs"/>
              </a:rPr>
              <a:t>Ecommerce</a:t>
            </a:r>
            <a:r>
              <a:rPr lang="ru-RU" sz="4200" dirty="0">
                <a:latin typeface="+mj-lt"/>
                <a:ea typeface="+mj-ea"/>
                <a:cs typeface="+mj-cs"/>
              </a:rPr>
              <a:t> -</a:t>
            </a:r>
            <a:r>
              <a:rPr lang="en-US" sz="4200" dirty="0">
                <a:latin typeface="+mj-lt"/>
                <a:ea typeface="+mj-ea"/>
                <a:cs typeface="+mj-cs"/>
              </a:rPr>
              <a:t> </a:t>
            </a:r>
            <a:r>
              <a:rPr lang="en-US" sz="4200" dirty="0" err="1">
                <a:latin typeface="+mj-lt"/>
                <a:ea typeface="+mj-ea"/>
                <a:cs typeface="+mj-cs"/>
              </a:rPr>
              <a:t>медиа</a:t>
            </a:r>
            <a:r>
              <a:rPr lang="en-US" sz="4200" dirty="0">
                <a:latin typeface="+mj-lt"/>
                <a:ea typeface="+mj-ea"/>
                <a:cs typeface="+mj-cs"/>
              </a:rPr>
              <a:t> </a:t>
            </a:r>
            <a:r>
              <a:rPr lang="en-US" sz="4200" dirty="0" err="1">
                <a:latin typeface="+mj-lt"/>
                <a:ea typeface="+mj-ea"/>
                <a:cs typeface="+mj-cs"/>
              </a:rPr>
              <a:t>площадка</a:t>
            </a:r>
            <a:endParaRPr lang="en-US" sz="4200" dirty="0">
              <a:latin typeface="+mj-lt"/>
              <a:ea typeface="+mj-ea"/>
              <a:cs typeface="+mj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3DAB5D-30FC-449F-9230-74F41BEE89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9232" y="356281"/>
            <a:ext cx="2123390" cy="377491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BDDAE6A-EBF8-46BC-8905-2C6B921625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4522" y="476573"/>
            <a:ext cx="1962956" cy="3774916"/>
          </a:xfrm>
          <a:prstGeom prst="rect">
            <a:avLst/>
          </a:prstGeom>
        </p:spPr>
      </p:pic>
      <p:pic>
        <p:nvPicPr>
          <p:cNvPr id="7" name="Picture 6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F8FA8D75-5C17-4543-BB14-3484FE31E55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378" y="476573"/>
            <a:ext cx="2123390" cy="3774916"/>
          </a:xfrm>
          <a:prstGeom prst="rect">
            <a:avLst/>
          </a:prstGeom>
        </p:spPr>
      </p:pic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8F880EF2-DF79-4D9D-8F11-E91D48C7974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524000" y="5778706"/>
            <a:ext cx="9144000" cy="0"/>
          </a:xfrm>
          <a:prstGeom prst="line">
            <a:avLst/>
          </a:prstGeom>
          <a:ln w="19050">
            <a:solidFill>
              <a:srgbClr val="40E2F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86C59D5E-814B-44D0-A91D-CCA121CEEFDA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ru-RU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848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843AA89-DE7D-1149-B97D-78196F587E12}"/>
              </a:ext>
            </a:extLst>
          </p:cNvPr>
          <p:cNvSpPr/>
          <p:nvPr/>
        </p:nvSpPr>
        <p:spPr>
          <a:xfrm>
            <a:off x="571897" y="359229"/>
            <a:ext cx="4882243" cy="185263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 defTabSz="914298">
              <a:lnSpc>
                <a:spcPct val="90000"/>
              </a:lnSpc>
              <a:defRPr/>
            </a:pPr>
            <a:endParaRPr lang="en-US" sz="1600">
              <a:ln w="0"/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1F335D-983A-8949-99D5-DBDAEED46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474" y="197856"/>
            <a:ext cx="6360915" cy="727349"/>
          </a:xfrm>
        </p:spPr>
        <p:txBody>
          <a:bodyPr/>
          <a:lstStyle/>
          <a:p>
            <a:r>
              <a:rPr lang="ru-RU" b="1">
                <a:latin typeface="YS Text" pitchFamily="2" charset="77"/>
              </a:rPr>
              <a:t>Перформанс измерения</a:t>
            </a:r>
            <a:br>
              <a:rPr lang="ru-RU" b="1">
                <a:latin typeface="YS Text" pitchFamily="2" charset="77"/>
              </a:rPr>
            </a:br>
            <a:r>
              <a:rPr lang="ru-RU" b="1">
                <a:latin typeface="YS Text" pitchFamily="2" charset="77"/>
              </a:rPr>
              <a:t>для медиа инвестиций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DB3B913-DA93-954C-9FF7-B3FCCB434C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224" y="0"/>
            <a:ext cx="3166467" cy="6858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7125E3E-2A66-B949-A885-A9F91BFE97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224" y="6461"/>
            <a:ext cx="3166467" cy="6858000"/>
          </a:xfrm>
          <a:prstGeom prst="rect">
            <a:avLst/>
          </a:prstGeom>
        </p:spPr>
      </p:pic>
      <p:pic>
        <p:nvPicPr>
          <p:cNvPr id="13" name="Telefon.png" descr="Telefon.png">
            <a:extLst>
              <a:ext uri="{FF2B5EF4-FFF2-40B4-BE49-F238E27FC236}">
                <a16:creationId xmlns:a16="http://schemas.microsoft.com/office/drawing/2014/main" id="{A46440EE-8825-644E-8822-8CF229467B7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t="25" b="25"/>
          <a:stretch>
            <a:fillRect/>
          </a:stretch>
        </p:blipFill>
        <p:spPr>
          <a:xfrm>
            <a:off x="7322027" y="-399075"/>
            <a:ext cx="3979051" cy="7656150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8A1B9AD-A324-F443-B3C5-C2080816F9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3812" y="2506154"/>
            <a:ext cx="586800" cy="140447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441B647-860A-3A44-862F-7686851C7F5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975"/>
          <a:stretch/>
        </p:blipFill>
        <p:spPr>
          <a:xfrm>
            <a:off x="133163" y="2217965"/>
            <a:ext cx="1734951" cy="1681602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3B3C253-B0B6-DE4B-8D94-273CA49EBA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6453" y="4185439"/>
            <a:ext cx="1443522" cy="1443522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953E797E-216A-A14B-9BB4-48CB6C9DF88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2958" r="17214"/>
          <a:stretch/>
        </p:blipFill>
        <p:spPr>
          <a:xfrm>
            <a:off x="4409288" y="4961813"/>
            <a:ext cx="892425" cy="1491659"/>
          </a:xfrm>
          <a:prstGeom prst="rect">
            <a:avLst/>
          </a:prstGeom>
        </p:spPr>
      </p:pic>
      <p:sp>
        <p:nvSpPr>
          <p:cNvPr id="16" name="Объект 4">
            <a:extLst>
              <a:ext uri="{FF2B5EF4-FFF2-40B4-BE49-F238E27FC236}">
                <a16:creationId xmlns:a16="http://schemas.microsoft.com/office/drawing/2014/main" id="{2AB5AB42-9BE9-3545-A306-E7D7C47264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9643" y="5087707"/>
            <a:ext cx="2038892" cy="1412425"/>
          </a:xfrm>
        </p:spPr>
        <p:txBody>
          <a:bodyPr/>
          <a:lstStyle/>
          <a:p>
            <a:r>
              <a:rPr lang="ru-RU" sz="1500">
                <a:solidFill>
                  <a:srgbClr val="000000"/>
                </a:solidFill>
                <a:latin typeface="YS Text Light" pitchFamily="2" charset="77"/>
              </a:rPr>
              <a:t>Продукт появился </a:t>
            </a:r>
          </a:p>
          <a:p>
            <a:r>
              <a:rPr lang="ru-RU" sz="1500">
                <a:solidFill>
                  <a:srgbClr val="000000"/>
                </a:solidFill>
                <a:latin typeface="YS Text Light" pitchFamily="2" charset="77"/>
              </a:rPr>
              <a:t>на полках Лавки </a:t>
            </a:r>
          </a:p>
          <a:p>
            <a:r>
              <a:rPr lang="ru-RU" sz="1500">
                <a:solidFill>
                  <a:srgbClr val="000000"/>
                </a:solidFill>
                <a:latin typeface="YS Text Light" pitchFamily="2" charset="77"/>
              </a:rPr>
              <a:t>в апреле 2020 </a:t>
            </a:r>
          </a:p>
          <a:p>
            <a:r>
              <a:rPr lang="ru-RU" sz="1500">
                <a:solidFill>
                  <a:srgbClr val="000000"/>
                </a:solidFill>
                <a:latin typeface="YS Text Light" pitchFamily="2" charset="77"/>
              </a:rPr>
              <a:t>и сразу стартовал </a:t>
            </a:r>
          </a:p>
          <a:p>
            <a:r>
              <a:rPr lang="ru-RU" sz="1500">
                <a:solidFill>
                  <a:srgbClr val="000000"/>
                </a:solidFill>
                <a:latin typeface="YS Text Light" pitchFamily="2" charset="77"/>
              </a:rPr>
              <a:t>с конверсией в </a:t>
            </a:r>
            <a:r>
              <a:rPr lang="ru-RU" sz="1500" b="1">
                <a:solidFill>
                  <a:srgbClr val="000000"/>
                </a:solidFill>
                <a:latin typeface="YS Text Light" pitchFamily="2" charset="77"/>
              </a:rPr>
              <a:t>3%</a:t>
            </a:r>
            <a:endParaRPr lang="ru-RU" sz="1500" b="1">
              <a:latin typeface="YS Text Light" pitchFamily="2" charset="77"/>
            </a:endParaRPr>
          </a:p>
        </p:txBody>
      </p:sp>
      <p:sp>
        <p:nvSpPr>
          <p:cNvPr id="17" name="Объект 4">
            <a:extLst>
              <a:ext uri="{FF2B5EF4-FFF2-40B4-BE49-F238E27FC236}">
                <a16:creationId xmlns:a16="http://schemas.microsoft.com/office/drawing/2014/main" id="{DCB26530-10DE-7D47-BB38-9B8275192F6F}"/>
              </a:ext>
            </a:extLst>
          </p:cNvPr>
          <p:cNvSpPr txBox="1">
            <a:spLocks/>
          </p:cNvSpPr>
          <p:nvPr/>
        </p:nvSpPr>
        <p:spPr>
          <a:xfrm>
            <a:off x="1805942" y="2737004"/>
            <a:ext cx="1648458" cy="6883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800" kern="120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1pPr>
            <a:lvl2pPr marL="720000" marR="0" indent="-719964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C00"/>
              </a:buClr>
              <a:buSzPct val="120000"/>
              <a:buFont typeface="Arial Unicode MS" panose="020B0604020202020204" pitchFamily="34" charset="-128"/>
              <a:buChar char="▎"/>
              <a:tabLst/>
              <a:defRPr sz="4800" b="0" kern="1200" baseline="0">
                <a:solidFill>
                  <a:schemeClr val="tx1"/>
                </a:solidFill>
                <a:latin typeface="YS Text Medium" pitchFamily="2" charset="-52"/>
                <a:ea typeface="+mn-ea"/>
                <a:cs typeface="+mn-cs"/>
              </a:defRPr>
            </a:lvl2pPr>
            <a:lvl3pPr marL="720000" marR="0" indent="-715963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50000"/>
              <a:buFont typeface="Yandex Sans Text Light" panose="02000000000000000000" pitchFamily="2" charset="-52"/>
              <a:buChar char="›"/>
              <a:tabLst/>
              <a:defRPr sz="4800" kern="120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3pPr>
            <a:lvl4pPr marL="720000" marR="0" indent="-715963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 sz="4800" kern="120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4pPr>
            <a:lvl5pPr marL="0" marR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800" kern="1200" baseline="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>
                <a:solidFill>
                  <a:srgbClr val="000000"/>
                </a:solidFill>
                <a:latin typeface="YS Text Light" pitchFamily="2" charset="77"/>
              </a:rPr>
              <a:t>Увеличение </a:t>
            </a:r>
          </a:p>
          <a:p>
            <a:r>
              <a:rPr lang="ru-RU" sz="1500">
                <a:solidFill>
                  <a:srgbClr val="000000"/>
                </a:solidFill>
                <a:latin typeface="YS Text Light" pitchFamily="2" charset="77"/>
              </a:rPr>
              <a:t>продаж </a:t>
            </a:r>
            <a:r>
              <a:rPr lang="ru-RU" sz="1500" b="1">
                <a:solidFill>
                  <a:srgbClr val="000000"/>
                </a:solidFill>
                <a:latin typeface="YS Text Light" pitchFamily="2" charset="77"/>
              </a:rPr>
              <a:t>в 34 раза</a:t>
            </a:r>
            <a:endParaRPr lang="ru-RU" sz="1500" b="1">
              <a:latin typeface="YS Text Light" pitchFamily="2" charset="77"/>
            </a:endParaRPr>
          </a:p>
        </p:txBody>
      </p:sp>
      <p:sp>
        <p:nvSpPr>
          <p:cNvPr id="18" name="Объект 4">
            <a:extLst>
              <a:ext uri="{FF2B5EF4-FFF2-40B4-BE49-F238E27FC236}">
                <a16:creationId xmlns:a16="http://schemas.microsoft.com/office/drawing/2014/main" id="{0A2FC93F-BB13-5644-89AC-4150C4EB5357}"/>
              </a:ext>
            </a:extLst>
          </p:cNvPr>
          <p:cNvSpPr txBox="1">
            <a:spLocks/>
          </p:cNvSpPr>
          <p:nvPr/>
        </p:nvSpPr>
        <p:spPr>
          <a:xfrm>
            <a:off x="857645" y="6040361"/>
            <a:ext cx="2038892" cy="141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800" kern="120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1pPr>
            <a:lvl2pPr marL="720000" marR="0" indent="-719964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C00"/>
              </a:buClr>
              <a:buSzPct val="120000"/>
              <a:buFont typeface="Arial Unicode MS" panose="020B0604020202020204" pitchFamily="34" charset="-128"/>
              <a:buChar char="▎"/>
              <a:tabLst/>
              <a:defRPr sz="4800" b="0" kern="1200" baseline="0">
                <a:solidFill>
                  <a:schemeClr val="tx1"/>
                </a:solidFill>
                <a:latin typeface="YS Text Medium" pitchFamily="2" charset="-52"/>
                <a:ea typeface="+mn-ea"/>
                <a:cs typeface="+mn-cs"/>
              </a:defRPr>
            </a:lvl2pPr>
            <a:lvl3pPr marL="720000" marR="0" indent="-715963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50000"/>
              <a:buFont typeface="Yandex Sans Text Light" panose="02000000000000000000" pitchFamily="2" charset="-52"/>
              <a:buChar char="›"/>
              <a:tabLst/>
              <a:defRPr sz="4800" kern="120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3pPr>
            <a:lvl4pPr marL="720000" marR="0" indent="-715963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 sz="4800" kern="120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4pPr>
            <a:lvl5pPr marL="0" marR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800" kern="1200" baseline="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>
                <a:solidFill>
                  <a:srgbClr val="000000"/>
                </a:solidFill>
                <a:latin typeface="YS Text Light" pitchFamily="2" charset="77"/>
              </a:rPr>
              <a:t>Рост количества </a:t>
            </a:r>
          </a:p>
          <a:p>
            <a:r>
              <a:rPr lang="ru-RU" sz="1500">
                <a:solidFill>
                  <a:srgbClr val="000000"/>
                </a:solidFill>
                <a:latin typeface="YS Text Light" pitchFamily="2" charset="77"/>
              </a:rPr>
              <a:t>продаж </a:t>
            </a:r>
            <a:r>
              <a:rPr lang="ru-RU" sz="1500" b="1">
                <a:solidFill>
                  <a:srgbClr val="000000"/>
                </a:solidFill>
                <a:latin typeface="YS Text Light" pitchFamily="2" charset="77"/>
              </a:rPr>
              <a:t>в 3,5 раза</a:t>
            </a:r>
            <a:endParaRPr lang="ru-RU" sz="1500" b="1">
              <a:latin typeface="YS Text Light" pitchFamily="2" charset="77"/>
            </a:endParaRPr>
          </a:p>
        </p:txBody>
      </p:sp>
      <p:sp>
        <p:nvSpPr>
          <p:cNvPr id="19" name="Объект 4">
            <a:extLst>
              <a:ext uri="{FF2B5EF4-FFF2-40B4-BE49-F238E27FC236}">
                <a16:creationId xmlns:a16="http://schemas.microsoft.com/office/drawing/2014/main" id="{FAB807DC-50D8-4B4F-937C-4B2E627F5196}"/>
              </a:ext>
            </a:extLst>
          </p:cNvPr>
          <p:cNvSpPr txBox="1">
            <a:spLocks/>
          </p:cNvSpPr>
          <p:nvPr/>
        </p:nvSpPr>
        <p:spPr>
          <a:xfrm>
            <a:off x="5258242" y="2610935"/>
            <a:ext cx="2038892" cy="14124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800" kern="120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1pPr>
            <a:lvl2pPr marL="720000" marR="0" indent="-719964" algn="l" defTabSz="1907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CC00"/>
              </a:buClr>
              <a:buSzPct val="120000"/>
              <a:buFont typeface="Arial Unicode MS" panose="020B0604020202020204" pitchFamily="34" charset="-128"/>
              <a:buChar char="▎"/>
              <a:tabLst/>
              <a:defRPr sz="4800" b="0" kern="1200" baseline="0">
                <a:solidFill>
                  <a:schemeClr val="tx1"/>
                </a:solidFill>
                <a:latin typeface="YS Text Medium" pitchFamily="2" charset="-52"/>
                <a:ea typeface="+mn-ea"/>
                <a:cs typeface="+mn-cs"/>
              </a:defRPr>
            </a:lvl2pPr>
            <a:lvl3pPr marL="720000" marR="0" indent="-715963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50000"/>
              <a:buFont typeface="Yandex Sans Text Light" panose="02000000000000000000" pitchFamily="2" charset="-52"/>
              <a:buChar char="›"/>
              <a:tabLst/>
              <a:defRPr sz="4800" kern="120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3pPr>
            <a:lvl4pPr marL="720000" marR="0" indent="-715963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 sz="4800" kern="120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4pPr>
            <a:lvl5pPr marL="0" marR="0" indent="0" algn="l" defTabSz="18286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sz="4800" kern="1200" baseline="0">
                <a:solidFill>
                  <a:schemeClr val="tx1"/>
                </a:solidFill>
                <a:latin typeface="YS Text Light" pitchFamily="2" charset="-52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>
                <a:latin typeface="YS Text Light" pitchFamily="2" charset="77"/>
              </a:rPr>
              <a:t>рост конверсии </a:t>
            </a:r>
          </a:p>
          <a:p>
            <a:r>
              <a:rPr lang="ru-RU" sz="1600">
                <a:latin typeface="YS Text Light" pitchFamily="2" charset="77"/>
              </a:rPr>
              <a:t>в продажу </a:t>
            </a:r>
          </a:p>
          <a:p>
            <a:r>
              <a:rPr lang="ru-RU" sz="1600" b="1">
                <a:latin typeface="YS Text Light" pitchFamily="2" charset="77"/>
              </a:rPr>
              <a:t>с 76% до 111%</a:t>
            </a:r>
            <a:endParaRPr lang="ru-RU" sz="1500" b="1">
              <a:latin typeface="YS Text Light" pitchFamily="2" charset="77"/>
            </a:endParaRP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E84A23A3-B568-F74B-9FC5-4D7449EB2FBD}"/>
              </a:ext>
            </a:extLst>
          </p:cNvPr>
          <p:cNvSpPr/>
          <p:nvPr/>
        </p:nvSpPr>
        <p:spPr>
          <a:xfrm>
            <a:off x="1753036" y="3980885"/>
            <a:ext cx="1110355" cy="1852631"/>
          </a:xfrm>
          <a:prstGeom prst="roundRect">
            <a:avLst/>
          </a:prstGeom>
          <a:noFill/>
          <a:ln w="12700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>
              <a:lnSpc>
                <a:spcPct val="90000"/>
              </a:lnSpc>
            </a:pPr>
            <a:endParaRPr lang="ru-RU" sz="1600">
              <a:ln w="0"/>
              <a:solidFill>
                <a:schemeClr val="tx1"/>
              </a:solidFill>
            </a:endParaRP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739A4B68-0DAD-0C47-A5D2-E8B53CC80544}"/>
              </a:ext>
            </a:extLst>
          </p:cNvPr>
          <p:cNvSpPr/>
          <p:nvPr/>
        </p:nvSpPr>
        <p:spPr>
          <a:xfrm>
            <a:off x="444851" y="2154940"/>
            <a:ext cx="1110355" cy="1852631"/>
          </a:xfrm>
          <a:prstGeom prst="roundRect">
            <a:avLst/>
          </a:prstGeom>
          <a:noFill/>
          <a:ln w="12700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>
              <a:lnSpc>
                <a:spcPct val="90000"/>
              </a:lnSpc>
            </a:pPr>
            <a:endParaRPr lang="ru-RU" sz="1600">
              <a:ln w="0"/>
              <a:solidFill>
                <a:schemeClr val="tx1"/>
              </a:solidFill>
            </a:endParaRPr>
          </a:p>
        </p:txBody>
      </p:sp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id="{C3F1BAAF-DDB6-724D-8FA9-F3AB783A38FD}"/>
              </a:ext>
            </a:extLst>
          </p:cNvPr>
          <p:cNvSpPr/>
          <p:nvPr/>
        </p:nvSpPr>
        <p:spPr>
          <a:xfrm>
            <a:off x="4017932" y="2267905"/>
            <a:ext cx="1110355" cy="1852631"/>
          </a:xfrm>
          <a:prstGeom prst="roundRect">
            <a:avLst/>
          </a:prstGeom>
          <a:noFill/>
          <a:ln w="12700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>
              <a:lnSpc>
                <a:spcPct val="90000"/>
              </a:lnSpc>
            </a:pPr>
            <a:endParaRPr lang="ru-RU" sz="1600">
              <a:ln w="0"/>
              <a:solidFill>
                <a:schemeClr val="tx1"/>
              </a:solidFill>
            </a:endParaRPr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C37D7C91-4A6D-0F44-A555-7C3F471C9D68}"/>
              </a:ext>
            </a:extLst>
          </p:cNvPr>
          <p:cNvSpPr/>
          <p:nvPr/>
        </p:nvSpPr>
        <p:spPr>
          <a:xfrm>
            <a:off x="4217955" y="4781328"/>
            <a:ext cx="1110355" cy="1852631"/>
          </a:xfrm>
          <a:prstGeom prst="roundRect">
            <a:avLst/>
          </a:prstGeom>
          <a:noFill/>
          <a:ln w="127000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000" tIns="108000" rIns="45000" bIns="108000" rtlCol="0" anchor="ctr" anchorCtr="0"/>
          <a:lstStyle/>
          <a:p>
            <a:pPr algn="ctr">
              <a:lnSpc>
                <a:spcPct val="90000"/>
              </a:lnSpc>
            </a:pPr>
            <a:endParaRPr lang="ru-RU" sz="1600">
              <a:ln w="0"/>
              <a:solidFill>
                <a:schemeClr val="tx1"/>
              </a:solidFill>
            </a:endParaRPr>
          </a:p>
        </p:txBody>
      </p:sp>
      <p:sp>
        <p:nvSpPr>
          <p:cNvPr id="24" name="Дуга 29">
            <a:extLst>
              <a:ext uri="{FF2B5EF4-FFF2-40B4-BE49-F238E27FC236}">
                <a16:creationId xmlns:a16="http://schemas.microsoft.com/office/drawing/2014/main" id="{1B404EC3-AEF3-4042-AA83-63883393FC47}"/>
              </a:ext>
            </a:extLst>
          </p:cNvPr>
          <p:cNvSpPr/>
          <p:nvPr/>
        </p:nvSpPr>
        <p:spPr>
          <a:xfrm flipH="1">
            <a:off x="-990439" y="1478364"/>
            <a:ext cx="11850130" cy="5768373"/>
          </a:xfrm>
          <a:prstGeom prst="arc">
            <a:avLst>
              <a:gd name="adj1" fmla="val 13812211"/>
              <a:gd name="adj2" fmla="val 19263882"/>
            </a:avLst>
          </a:prstGeom>
          <a:ln w="25400">
            <a:solidFill>
              <a:schemeClr val="bg2"/>
            </a:solidFill>
            <a:miter lim="400000"/>
            <a:headEnd w="lg" len="med"/>
            <a:tailEnd type="arrow" w="lg" len="med"/>
          </a:ln>
        </p:spPr>
        <p:txBody>
          <a:bodyPr lIns="35721" tIns="35721" rIns="35721" bIns="35721" anchor="ctr"/>
          <a:lstStyle/>
          <a:p>
            <a:pPr defTabSz="914310"/>
            <a:endParaRPr lang="ru-RU" sz="1266">
              <a:solidFill>
                <a:srgbClr val="000000"/>
              </a:solidFill>
              <a:highlight>
                <a:srgbClr val="FFFF00"/>
              </a:highlight>
              <a:latin typeface="Yandex Sans Text Light"/>
            </a:endParaRPr>
          </a:p>
        </p:txBody>
      </p:sp>
      <p:sp>
        <p:nvSpPr>
          <p:cNvPr id="25" name="Дуга 29">
            <a:extLst>
              <a:ext uri="{FF2B5EF4-FFF2-40B4-BE49-F238E27FC236}">
                <a16:creationId xmlns:a16="http://schemas.microsoft.com/office/drawing/2014/main" id="{82C6052E-9A88-4C40-B05A-B5603D0868EA}"/>
              </a:ext>
            </a:extLst>
          </p:cNvPr>
          <p:cNvSpPr/>
          <p:nvPr/>
        </p:nvSpPr>
        <p:spPr>
          <a:xfrm flipH="1">
            <a:off x="4972957" y="1940625"/>
            <a:ext cx="3049178" cy="2803537"/>
          </a:xfrm>
          <a:prstGeom prst="arc">
            <a:avLst>
              <a:gd name="adj1" fmla="val 13812211"/>
              <a:gd name="adj2" fmla="val 19263882"/>
            </a:avLst>
          </a:prstGeom>
          <a:ln w="25400">
            <a:solidFill>
              <a:schemeClr val="bg2"/>
            </a:solidFill>
            <a:miter lim="400000"/>
            <a:headEnd w="lg" len="med"/>
            <a:tailEnd type="arrow" w="lg" len="med"/>
          </a:ln>
        </p:spPr>
        <p:txBody>
          <a:bodyPr lIns="35721" tIns="35721" rIns="35721" bIns="35721" anchor="ctr"/>
          <a:lstStyle/>
          <a:p>
            <a:pPr defTabSz="914310"/>
            <a:endParaRPr lang="ru-RU" sz="1266">
              <a:solidFill>
                <a:srgbClr val="000000"/>
              </a:solidFill>
              <a:highlight>
                <a:srgbClr val="FFFF00"/>
              </a:highlight>
              <a:latin typeface="Yandex Sans Text Light"/>
            </a:endParaRPr>
          </a:p>
        </p:txBody>
      </p:sp>
      <p:sp>
        <p:nvSpPr>
          <p:cNvPr id="26" name="Дуга 29">
            <a:extLst>
              <a:ext uri="{FF2B5EF4-FFF2-40B4-BE49-F238E27FC236}">
                <a16:creationId xmlns:a16="http://schemas.microsoft.com/office/drawing/2014/main" id="{31B6E721-FB3F-5949-8C0E-DF31E5426C24}"/>
              </a:ext>
            </a:extLst>
          </p:cNvPr>
          <p:cNvSpPr/>
          <p:nvPr/>
        </p:nvSpPr>
        <p:spPr>
          <a:xfrm rot="21400352" flipH="1">
            <a:off x="1966008" y="4358921"/>
            <a:ext cx="7388257" cy="5730079"/>
          </a:xfrm>
          <a:prstGeom prst="arc">
            <a:avLst>
              <a:gd name="adj1" fmla="val 13812211"/>
              <a:gd name="adj2" fmla="val 19263882"/>
            </a:avLst>
          </a:prstGeom>
          <a:ln w="25400">
            <a:solidFill>
              <a:schemeClr val="bg2"/>
            </a:solidFill>
            <a:miter lim="400000"/>
            <a:headEnd w="lg" len="med"/>
            <a:tailEnd type="arrow" w="lg" len="med"/>
          </a:ln>
        </p:spPr>
        <p:txBody>
          <a:bodyPr lIns="35721" tIns="35721" rIns="35721" bIns="35721" anchor="ctr"/>
          <a:lstStyle/>
          <a:p>
            <a:pPr defTabSz="914310"/>
            <a:endParaRPr lang="ru-RU" sz="1266">
              <a:solidFill>
                <a:srgbClr val="000000"/>
              </a:solidFill>
              <a:highlight>
                <a:srgbClr val="FFFF00"/>
              </a:highlight>
              <a:latin typeface="Yandex Sans Text Light"/>
            </a:endParaRPr>
          </a:p>
        </p:txBody>
      </p:sp>
      <p:sp>
        <p:nvSpPr>
          <p:cNvPr id="27" name="Дуга 29">
            <a:extLst>
              <a:ext uri="{FF2B5EF4-FFF2-40B4-BE49-F238E27FC236}">
                <a16:creationId xmlns:a16="http://schemas.microsoft.com/office/drawing/2014/main" id="{FA5E3476-FA0D-094E-9531-6F908D5383E0}"/>
              </a:ext>
            </a:extLst>
          </p:cNvPr>
          <p:cNvSpPr/>
          <p:nvPr/>
        </p:nvSpPr>
        <p:spPr>
          <a:xfrm rot="21352543" flipH="1">
            <a:off x="5158285" y="4505577"/>
            <a:ext cx="3049178" cy="2803537"/>
          </a:xfrm>
          <a:prstGeom prst="arc">
            <a:avLst>
              <a:gd name="adj1" fmla="val 13812211"/>
              <a:gd name="adj2" fmla="val 19263882"/>
            </a:avLst>
          </a:prstGeom>
          <a:ln w="25400">
            <a:solidFill>
              <a:schemeClr val="bg2"/>
            </a:solidFill>
            <a:miter lim="400000"/>
            <a:headEnd w="lg" len="med"/>
            <a:tailEnd type="arrow" w="lg" len="med"/>
          </a:ln>
        </p:spPr>
        <p:txBody>
          <a:bodyPr lIns="35721" tIns="35721" rIns="35721" bIns="35721" anchor="ctr"/>
          <a:lstStyle/>
          <a:p>
            <a:pPr defTabSz="914310"/>
            <a:endParaRPr lang="ru-RU" sz="1266">
              <a:solidFill>
                <a:srgbClr val="000000"/>
              </a:solidFill>
              <a:highlight>
                <a:srgbClr val="FFFF00"/>
              </a:highlight>
              <a:latin typeface="Yandex Sans Text Light"/>
            </a:endParaRPr>
          </a:p>
        </p:txBody>
      </p:sp>
    </p:spTree>
    <p:extLst>
      <p:ext uri="{BB962C8B-B14F-4D97-AF65-F5344CB8AC3E}">
        <p14:creationId xmlns:p14="http://schemas.microsoft.com/office/powerpoint/2010/main" val="358145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75ADC87-2BD1-462F-8BFA-0521E66F1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353" y="825911"/>
            <a:ext cx="11324493" cy="4053684"/>
          </a:xfrm>
        </p:spPr>
        <p:txBody>
          <a:bodyPr/>
          <a:lstStyle/>
          <a:p>
            <a:pPr algn="ctr"/>
            <a:r>
              <a:rPr lang="ru-RU" sz="4800"/>
              <a:t/>
            </a:r>
            <a:br>
              <a:rPr lang="ru-RU" sz="4800"/>
            </a:br>
            <a:r>
              <a:rPr lang="ru-RU" sz="4800"/>
              <a:t/>
            </a:r>
            <a:br>
              <a:rPr lang="ru-RU" sz="4800"/>
            </a:br>
            <a:r>
              <a:rPr lang="ru-RU" sz="4800"/>
              <a:t>ГИБКОСТЬ</a:t>
            </a:r>
            <a:r>
              <a:rPr lang="en-US" sz="4800"/>
              <a:t>/FLEXIBILITY</a:t>
            </a:r>
            <a:r>
              <a:rPr lang="ru-RU" sz="4800"/>
              <a:t/>
            </a:r>
            <a:br>
              <a:rPr lang="ru-RU" sz="4800"/>
            </a:br>
            <a:r>
              <a:rPr lang="ru-RU" sz="4800"/>
              <a:t> </a:t>
            </a:r>
            <a:br>
              <a:rPr lang="ru-RU" sz="4800"/>
            </a:br>
            <a:r>
              <a:rPr lang="ru-RU" sz="4800"/>
              <a:t>СООТВЕТСТВИЕ</a:t>
            </a:r>
            <a:r>
              <a:rPr lang="en-US" sz="4800"/>
              <a:t>/RELEVANCY</a:t>
            </a:r>
            <a:br>
              <a:rPr lang="en-US" sz="4800"/>
            </a:br>
            <a:r>
              <a:rPr lang="en-US" sz="4800"/>
              <a:t/>
            </a:r>
            <a:br>
              <a:rPr lang="en-US" sz="4800"/>
            </a:br>
            <a:r>
              <a:rPr lang="ru-RU" sz="4800"/>
              <a:t>СКОРОСТЬ</a:t>
            </a:r>
            <a:r>
              <a:rPr lang="en-US" sz="4800"/>
              <a:t>/SPEED</a:t>
            </a:r>
            <a:endParaRPr lang="ru-RU" sz="4800"/>
          </a:p>
        </p:txBody>
      </p:sp>
    </p:spTree>
    <p:extLst>
      <p:ext uri="{BB962C8B-B14F-4D97-AF65-F5344CB8AC3E}">
        <p14:creationId xmlns:p14="http://schemas.microsoft.com/office/powerpoint/2010/main" val="165076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C0925CC-F8D7-4D48-AD10-0A70177D79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821197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1AED7D5-87B4-4DD4-9582-1D3BFE7C167C}"/>
              </a:ext>
            </a:extLst>
          </p:cNvPr>
          <p:cNvSpPr/>
          <p:nvPr/>
        </p:nvSpPr>
        <p:spPr>
          <a:xfrm>
            <a:off x="8211974" y="0"/>
            <a:ext cx="3980026" cy="6858000"/>
          </a:xfrm>
          <a:prstGeom prst="rect">
            <a:avLst/>
          </a:prstGeom>
          <a:solidFill>
            <a:srgbClr val="FFEE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itle 4">
            <a:extLst>
              <a:ext uri="{FF2B5EF4-FFF2-40B4-BE49-F238E27FC236}">
                <a16:creationId xmlns:a16="http://schemas.microsoft.com/office/drawing/2014/main" id="{AF8C3078-C9F0-400C-B902-D0A0DAF75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2031" y="2068597"/>
            <a:ext cx="5990254" cy="2721118"/>
          </a:xfrm>
        </p:spPr>
        <p:txBody>
          <a:bodyPr>
            <a:normAutofit/>
          </a:bodyPr>
          <a:lstStyle/>
          <a:p>
            <a:r>
              <a:rPr lang="ru-RU" sz="5400" dirty="0">
                <a:solidFill>
                  <a:srgbClr val="105627"/>
                </a:solidFill>
              </a:rPr>
              <a:t>Дома вкуснее </a:t>
            </a:r>
            <a:br>
              <a:rPr lang="ru-RU" sz="5400" dirty="0">
                <a:solidFill>
                  <a:srgbClr val="105627"/>
                </a:solidFill>
              </a:rPr>
            </a:br>
            <a:r>
              <a:rPr lang="ru-RU" sz="5400" dirty="0">
                <a:solidFill>
                  <a:srgbClr val="105627"/>
                </a:solidFill>
              </a:rPr>
              <a:t>с </a:t>
            </a:r>
            <a:r>
              <a:rPr lang="en-US" sz="5400" dirty="0">
                <a:solidFill>
                  <a:srgbClr val="105627"/>
                </a:solidFill>
              </a:rPr>
              <a:t>Lay’s</a:t>
            </a:r>
            <a:endParaRPr lang="ru-RU" sz="5400" dirty="0">
              <a:solidFill>
                <a:srgbClr val="10562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389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lack/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0210DE5C951546873115294EE65064" ma:contentTypeVersion="13" ma:contentTypeDescription="Create a new document." ma:contentTypeScope="" ma:versionID="7935bc369bca25a5035e984c9a889ab4">
  <xsd:schema xmlns:xsd="http://www.w3.org/2001/XMLSchema" xmlns:xs="http://www.w3.org/2001/XMLSchema" xmlns:p="http://schemas.microsoft.com/office/2006/metadata/properties" xmlns:ns3="9081d2ba-019f-4f78-a13d-5426c14989ab" xmlns:ns4="cfd74c14-d66a-4901-b0c8-4cbe00f172ea" targetNamespace="http://schemas.microsoft.com/office/2006/metadata/properties" ma:root="true" ma:fieldsID="e708e4114b20ff0944e96dcd42f9ac83" ns3:_="" ns4:_="">
    <xsd:import namespace="9081d2ba-019f-4f78-a13d-5426c14989ab"/>
    <xsd:import namespace="cfd74c14-d66a-4901-b0c8-4cbe00f172e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81d2ba-019f-4f78-a13d-5426c14989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d74c14-d66a-4901-b0c8-4cbe00f172e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fd74c14-d66a-4901-b0c8-4cbe00f172ea">
      <UserInfo>
        <DisplayName>Sermagambetov, Marat {PI}</DisplayName>
        <AccountId>198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42FB77A-DF84-462D-80DB-BBD0AABB1C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081d2ba-019f-4f78-a13d-5426c14989ab"/>
    <ds:schemaRef ds:uri="cfd74c14-d66a-4901-b0c8-4cbe00f172e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C2C65F0-4900-4955-A920-97927D2B68E8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cfd74c14-d66a-4901-b0c8-4cbe00f172ea"/>
    <ds:schemaRef ds:uri="9081d2ba-019f-4f78-a13d-5426c14989ab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725B295-58C4-4127-B410-5FBCE8190AF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6</TotalTime>
  <Words>815</Words>
  <Application>Microsoft Office PowerPoint</Application>
  <PresentationFormat>Широкоэкранный</PresentationFormat>
  <Paragraphs>94</Paragraphs>
  <Slides>21</Slides>
  <Notes>13</Notes>
  <HiddenSlides>0</HiddenSlides>
  <MMClips>5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5" baseType="lpstr">
      <vt:lpstr>Arial Unicode MS</vt:lpstr>
      <vt:lpstr>Arial</vt:lpstr>
      <vt:lpstr>Arial Black</vt:lpstr>
      <vt:lpstr>Calibri</vt:lpstr>
      <vt:lpstr>Montserrat</vt:lpstr>
      <vt:lpstr>Montserrat Light</vt:lpstr>
      <vt:lpstr>Times New Roman</vt:lpstr>
      <vt:lpstr>Yandex Sans Text Light</vt:lpstr>
      <vt:lpstr>YS Text</vt:lpstr>
      <vt:lpstr>YS Text Light</vt:lpstr>
      <vt:lpstr>YS Text Medium</vt:lpstr>
      <vt:lpstr>YS Text Regular</vt:lpstr>
      <vt:lpstr>Тема Office</vt:lpstr>
      <vt:lpstr>think-cell Slide</vt:lpstr>
      <vt:lpstr>Изменение маркетинговых стратегий брендов под воздействием CV-19</vt:lpstr>
      <vt:lpstr>PepsiCo в России </vt:lpstr>
      <vt:lpstr>Вызовы нового времени</vt:lpstr>
      <vt:lpstr> НОВОЕ!  Ecommerce становится  частью медиа микса и…  </vt:lpstr>
      <vt:lpstr>Презентация PowerPoint</vt:lpstr>
      <vt:lpstr>Презентация PowerPoint</vt:lpstr>
      <vt:lpstr>Перформанс измерения для медиа инвестиций </vt:lpstr>
      <vt:lpstr>  ГИБКОСТЬ/FLEXIBILITY   СООТВЕТСТВИЕ/RELEVANCY  СКОРОСТЬ/SPEED</vt:lpstr>
      <vt:lpstr>Дома вкуснее  с Lay’s</vt:lpstr>
      <vt:lpstr>Lay's благодарит социально ответственных потребителей</vt:lpstr>
      <vt:lpstr>Презентация PowerPoint</vt:lpstr>
      <vt:lpstr>#ЯвДомике</vt:lpstr>
      <vt:lpstr>Презентация PowerPoint</vt:lpstr>
      <vt:lpstr>UGC более 600 участников </vt:lpstr>
      <vt:lpstr>Презентация PowerPoint</vt:lpstr>
      <vt:lpstr>Презентация PowerPoint</vt:lpstr>
      <vt:lpstr>Презентация PowerPoint</vt:lpstr>
      <vt:lpstr>   ТЕСТЫ vs. СПЕЦПРОЕКТЫ</vt:lpstr>
      <vt:lpstr>Презентация PowerPoint</vt:lpstr>
      <vt:lpstr>   ОМНИКАНАЛЬНОСТЬ </vt:lpstr>
      <vt:lpstr>СПАСИБО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зменение маркетинговых стратегий брендов под воздействием CV-19</dc:title>
  <dc:creator>Baskind, Natalya {PI}</dc:creator>
  <cp:lastModifiedBy>info@mobile-multimedia.ru</cp:lastModifiedBy>
  <cp:revision>2</cp:revision>
  <dcterms:created xsi:type="dcterms:W3CDTF">2020-07-13T19:08:57Z</dcterms:created>
  <dcterms:modified xsi:type="dcterms:W3CDTF">2020-07-14T14:22:47Z</dcterms:modified>
</cp:coreProperties>
</file>